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gif" ContentType="image/gif"/>
  <Default Extension="mp4" ContentType="video/unknown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258" r:id="rId6"/>
    <p:sldId id="257" r:id="rId7"/>
    <p:sldId id="752" r:id="rId8"/>
    <p:sldId id="763" r:id="rId9"/>
    <p:sldId id="753" r:id="rId10"/>
    <p:sldId id="712" r:id="rId11"/>
    <p:sldId id="767" r:id="rId12"/>
    <p:sldId id="702" r:id="rId13"/>
    <p:sldId id="734" r:id="rId14"/>
    <p:sldId id="735" r:id="rId15"/>
    <p:sldId id="713" r:id="rId16"/>
    <p:sldId id="761" r:id="rId17"/>
    <p:sldId id="719" r:id="rId18"/>
    <p:sldId id="755" r:id="rId19"/>
    <p:sldId id="765" r:id="rId20"/>
    <p:sldId id="766" r:id="rId21"/>
    <p:sldId id="703" r:id="rId22"/>
    <p:sldId id="273" r:id="rId23"/>
    <p:sldId id="274" r:id="rId24"/>
  </p:sldIdLst>
  <p:sldSz cx="12192000" cy="6858000"/>
  <p:notesSz cx="6858000" cy="9144000"/>
  <p:defaultTextStyle>
    <a:defPPr>
      <a:defRPr lang="sk-S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95979C"/>
    <a:srgbClr val="E3EC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FCCC460-8690-4A88-8FE3-64A51DD59AE0}" v="1" dt="2021-12-06T07:52:11.13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90" d="100"/>
          <a:sy n="90" d="100"/>
        </p:scale>
        <p:origin x="-360" y="-1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ter Jankovsky" userId="0f9f04bc-ec60-4337-914d-b29f40e6ede0" providerId="ADAL" clId="{D56175CD-CB62-49E0-886E-8D8A6879C144}"/>
    <pc:docChg chg="undo custSel modSld">
      <pc:chgData name="Peter Jankovsky" userId="0f9f04bc-ec60-4337-914d-b29f40e6ede0" providerId="ADAL" clId="{D56175CD-CB62-49E0-886E-8D8A6879C144}" dt="2021-02-24T16:03:38.524" v="52" actId="729"/>
      <pc:docMkLst>
        <pc:docMk/>
      </pc:docMkLst>
      <pc:sldChg chg="addSp delSp modSp mod">
        <pc:chgData name="Peter Jankovsky" userId="0f9f04bc-ec60-4337-914d-b29f40e6ede0" providerId="ADAL" clId="{D56175CD-CB62-49E0-886E-8D8A6879C144}" dt="2021-02-24T15:56:23.688" v="51" actId="167"/>
        <pc:sldMkLst>
          <pc:docMk/>
          <pc:sldMk cId="4120783338" sldId="263"/>
        </pc:sldMkLst>
        <pc:picChg chg="add mod">
          <ac:chgData name="Peter Jankovsky" userId="0f9f04bc-ec60-4337-914d-b29f40e6ede0" providerId="ADAL" clId="{D56175CD-CB62-49E0-886E-8D8A6879C144}" dt="2021-02-24T14:40:10.114" v="24" actId="14100"/>
          <ac:picMkLst>
            <pc:docMk/>
            <pc:sldMk cId="4120783338" sldId="263"/>
            <ac:picMk id="14" creationId="{A0D2D1C6-DBDB-4235-BD2D-B00B3DDD2468}"/>
          </ac:picMkLst>
        </pc:picChg>
        <pc:picChg chg="add mod ord">
          <ac:chgData name="Peter Jankovsky" userId="0f9f04bc-ec60-4337-914d-b29f40e6ede0" providerId="ADAL" clId="{D56175CD-CB62-49E0-886E-8D8A6879C144}" dt="2021-02-24T15:56:23.688" v="51" actId="167"/>
          <ac:picMkLst>
            <pc:docMk/>
            <pc:sldMk cId="4120783338" sldId="263"/>
            <ac:picMk id="24" creationId="{3A9E5699-1CD0-4BB7-83DB-12D10B0FC89C}"/>
          </ac:picMkLst>
        </pc:picChg>
        <pc:picChg chg="mod">
          <ac:chgData name="Peter Jankovsky" userId="0f9f04bc-ec60-4337-914d-b29f40e6ede0" providerId="ADAL" clId="{D56175CD-CB62-49E0-886E-8D8A6879C144}" dt="2021-02-24T14:39:53.039" v="18" actId="1076"/>
          <ac:picMkLst>
            <pc:docMk/>
            <pc:sldMk cId="4120783338" sldId="263"/>
            <ac:picMk id="25" creationId="{95B01CC0-A80B-4885-8787-0F4DB7AB0816}"/>
          </ac:picMkLst>
        </pc:picChg>
        <pc:picChg chg="del">
          <ac:chgData name="Peter Jankovsky" userId="0f9f04bc-ec60-4337-914d-b29f40e6ede0" providerId="ADAL" clId="{D56175CD-CB62-49E0-886E-8D8A6879C144}" dt="2021-02-24T15:54:30.297" v="37" actId="478"/>
          <ac:picMkLst>
            <pc:docMk/>
            <pc:sldMk cId="4120783338" sldId="263"/>
            <ac:picMk id="37" creationId="{81338797-39E8-4AE8-8FC8-DCB2CE99897C}"/>
          </ac:picMkLst>
        </pc:picChg>
        <pc:picChg chg="mod">
          <ac:chgData name="Peter Jankovsky" userId="0f9f04bc-ec60-4337-914d-b29f40e6ede0" providerId="ADAL" clId="{D56175CD-CB62-49E0-886E-8D8A6879C144}" dt="2021-02-24T14:40:03.583" v="21" actId="1076"/>
          <ac:picMkLst>
            <pc:docMk/>
            <pc:sldMk cId="4120783338" sldId="263"/>
            <ac:picMk id="41" creationId="{B277B24A-0699-4E2C-B22B-A57393B55C35}"/>
          </ac:picMkLst>
        </pc:picChg>
        <pc:picChg chg="mod">
          <ac:chgData name="Peter Jankovsky" userId="0f9f04bc-ec60-4337-914d-b29f40e6ede0" providerId="ADAL" clId="{D56175CD-CB62-49E0-886E-8D8A6879C144}" dt="2021-02-24T15:22:54.391" v="27" actId="1076"/>
          <ac:picMkLst>
            <pc:docMk/>
            <pc:sldMk cId="4120783338" sldId="263"/>
            <ac:picMk id="57" creationId="{234E0BA8-AB32-4D9A-A71F-7201B392849E}"/>
          </ac:picMkLst>
        </pc:picChg>
        <pc:picChg chg="mod">
          <ac:chgData name="Peter Jankovsky" userId="0f9f04bc-ec60-4337-914d-b29f40e6ede0" providerId="ADAL" clId="{D56175CD-CB62-49E0-886E-8D8A6879C144}" dt="2021-02-24T14:38:24.224" v="8" actId="1076"/>
          <ac:picMkLst>
            <pc:docMk/>
            <pc:sldMk cId="4120783338" sldId="263"/>
            <ac:picMk id="65" creationId="{A3497B80-C155-43CA-86EA-EF0A1AEFAC61}"/>
          </ac:picMkLst>
        </pc:picChg>
        <pc:picChg chg="mod">
          <ac:chgData name="Peter Jankovsky" userId="0f9f04bc-ec60-4337-914d-b29f40e6ede0" providerId="ADAL" clId="{D56175CD-CB62-49E0-886E-8D8A6879C144}" dt="2021-02-24T14:40:05.407" v="22" actId="1076"/>
          <ac:picMkLst>
            <pc:docMk/>
            <pc:sldMk cId="4120783338" sldId="263"/>
            <ac:picMk id="69" creationId="{51FDAE70-1121-42AD-96B9-100F48977905}"/>
          </ac:picMkLst>
        </pc:picChg>
        <pc:picChg chg="mod">
          <ac:chgData name="Peter Jankovsky" userId="0f9f04bc-ec60-4337-914d-b29f40e6ede0" providerId="ADAL" clId="{D56175CD-CB62-49E0-886E-8D8A6879C144}" dt="2021-02-24T14:38:06.546" v="4" actId="1076"/>
          <ac:picMkLst>
            <pc:docMk/>
            <pc:sldMk cId="4120783338" sldId="263"/>
            <ac:picMk id="73" creationId="{ACDDF92C-8B84-41E5-820A-899B9B8467C6}"/>
          </ac:picMkLst>
        </pc:picChg>
        <pc:picChg chg="mod">
          <ac:chgData name="Peter Jankovsky" userId="0f9f04bc-ec60-4337-914d-b29f40e6ede0" providerId="ADAL" clId="{D56175CD-CB62-49E0-886E-8D8A6879C144}" dt="2021-02-24T14:40:02.120" v="20" actId="1076"/>
          <ac:picMkLst>
            <pc:docMk/>
            <pc:sldMk cId="4120783338" sldId="263"/>
            <ac:picMk id="76" creationId="{AA36793E-D83F-4DB5-85D4-B676A61720C9}"/>
          </ac:picMkLst>
        </pc:picChg>
        <pc:picChg chg="mod ord">
          <ac:chgData name="Peter Jankovsky" userId="0f9f04bc-ec60-4337-914d-b29f40e6ede0" providerId="ADAL" clId="{D56175CD-CB62-49E0-886E-8D8A6879C144}" dt="2021-02-24T15:56:17.731" v="50" actId="166"/>
          <ac:picMkLst>
            <pc:docMk/>
            <pc:sldMk cId="4120783338" sldId="263"/>
            <ac:picMk id="78" creationId="{92B32739-DBBA-4D6E-B746-20840A52A0FC}"/>
          </ac:picMkLst>
        </pc:picChg>
        <pc:picChg chg="add mod">
          <ac:chgData name="Peter Jankovsky" userId="0f9f04bc-ec60-4337-914d-b29f40e6ede0" providerId="ADAL" clId="{D56175CD-CB62-49E0-886E-8D8A6879C144}" dt="2021-02-24T14:38:05.045" v="3" actId="1076"/>
          <ac:picMkLst>
            <pc:docMk/>
            <pc:sldMk cId="4120783338" sldId="263"/>
            <ac:picMk id="79" creationId="{04BBF619-0065-4D62-9C85-94CF0C3B1AA8}"/>
          </ac:picMkLst>
        </pc:picChg>
        <pc:picChg chg="add mod">
          <ac:chgData name="Peter Jankovsky" userId="0f9f04bc-ec60-4337-914d-b29f40e6ede0" providerId="ADAL" clId="{D56175CD-CB62-49E0-886E-8D8A6879C144}" dt="2021-02-24T14:38:33.673" v="12" actId="1076"/>
          <ac:picMkLst>
            <pc:docMk/>
            <pc:sldMk cId="4120783338" sldId="263"/>
            <ac:picMk id="80" creationId="{F1AC1F72-3C51-4D4D-9C7B-D5AB5A67A15B}"/>
          </ac:picMkLst>
        </pc:picChg>
        <pc:picChg chg="add mod">
          <ac:chgData name="Peter Jankovsky" userId="0f9f04bc-ec60-4337-914d-b29f40e6ede0" providerId="ADAL" clId="{D56175CD-CB62-49E0-886E-8D8A6879C144}" dt="2021-02-24T15:49:27.897" v="30" actId="1076"/>
          <ac:picMkLst>
            <pc:docMk/>
            <pc:sldMk cId="4120783338" sldId="263"/>
            <ac:picMk id="81" creationId="{9D7CAB81-0ADE-4E2C-9933-A2C84103BCDB}"/>
          </ac:picMkLst>
        </pc:picChg>
        <pc:picChg chg="add mod">
          <ac:chgData name="Peter Jankovsky" userId="0f9f04bc-ec60-4337-914d-b29f40e6ede0" providerId="ADAL" clId="{D56175CD-CB62-49E0-886E-8D8A6879C144}" dt="2021-02-24T15:54:38.885" v="40" actId="1076"/>
          <ac:picMkLst>
            <pc:docMk/>
            <pc:sldMk cId="4120783338" sldId="263"/>
            <ac:picMk id="82" creationId="{4CF63466-A47B-40D5-9F7C-74596DF5EC88}"/>
          </ac:picMkLst>
        </pc:picChg>
        <pc:picChg chg="mod">
          <ac:chgData name="Peter Jankovsky" userId="0f9f04bc-ec60-4337-914d-b29f40e6ede0" providerId="ADAL" clId="{D56175CD-CB62-49E0-886E-8D8A6879C144}" dt="2021-02-24T14:38:31.566" v="11" actId="1076"/>
          <ac:picMkLst>
            <pc:docMk/>
            <pc:sldMk cId="4120783338" sldId="263"/>
            <ac:picMk id="1026" creationId="{BD671A20-B234-4150-A875-9CAB88FC7366}"/>
          </ac:picMkLst>
        </pc:picChg>
      </pc:sldChg>
      <pc:sldChg chg="addSp delSp modSp mod modShow">
        <pc:chgData name="Peter Jankovsky" userId="0f9f04bc-ec60-4337-914d-b29f40e6ede0" providerId="ADAL" clId="{D56175CD-CB62-49E0-886E-8D8A6879C144}" dt="2021-02-24T16:03:38.524" v="52" actId="729"/>
        <pc:sldMkLst>
          <pc:docMk/>
          <pc:sldMk cId="2196778977" sldId="264"/>
        </pc:sldMkLst>
        <pc:picChg chg="mod">
          <ac:chgData name="Peter Jankovsky" userId="0f9f04bc-ec60-4337-914d-b29f40e6ede0" providerId="ADAL" clId="{D56175CD-CB62-49E0-886E-8D8A6879C144}" dt="2021-02-24T15:54:00.850" v="34" actId="14100"/>
          <ac:picMkLst>
            <pc:docMk/>
            <pc:sldMk cId="2196778977" sldId="264"/>
            <ac:picMk id="70" creationId="{80708F7F-4D63-4C6C-9529-375B77F93FC8}"/>
          </ac:picMkLst>
        </pc:picChg>
        <pc:picChg chg="add del mod">
          <ac:chgData name="Peter Jankovsky" userId="0f9f04bc-ec60-4337-914d-b29f40e6ede0" providerId="ADAL" clId="{D56175CD-CB62-49E0-886E-8D8A6879C144}" dt="2021-02-24T15:54:19.873" v="35" actId="21"/>
          <ac:picMkLst>
            <pc:docMk/>
            <pc:sldMk cId="2196778977" sldId="264"/>
            <ac:picMk id="1026" creationId="{704122C6-01F2-406F-8400-506EA094226F}"/>
          </ac:picMkLst>
        </pc:picChg>
      </pc:sldChg>
      <pc:sldChg chg="modSp mod">
        <pc:chgData name="Peter Jankovsky" userId="0f9f04bc-ec60-4337-914d-b29f40e6ede0" providerId="ADAL" clId="{D56175CD-CB62-49E0-886E-8D8A6879C144}" dt="2021-02-11T11:23:29.671" v="0" actId="114"/>
        <pc:sldMkLst>
          <pc:docMk/>
          <pc:sldMk cId="2879402467" sldId="273"/>
        </pc:sldMkLst>
        <pc:spChg chg="mod">
          <ac:chgData name="Peter Jankovsky" userId="0f9f04bc-ec60-4337-914d-b29f40e6ede0" providerId="ADAL" clId="{D56175CD-CB62-49E0-886E-8D8A6879C144}" dt="2021-02-11T11:23:29.671" v="0" actId="114"/>
          <ac:spMkLst>
            <pc:docMk/>
            <pc:sldMk cId="2879402467" sldId="273"/>
            <ac:spMk id="37" creationId="{7E19CD35-A9FB-41B4-B171-75F3D5852EEC}"/>
          </ac:spMkLst>
        </pc:spChg>
      </pc:sldChg>
    </pc:docChg>
  </pc:docChgLst>
  <pc:docChgLst>
    <pc:chgData name="Peter Jankovský" userId="0f9f04bc-ec60-4337-914d-b29f40e6ede0" providerId="ADAL" clId="{52C5B823-3361-4FB1-9E4C-BF634F4BEC02}"/>
    <pc:docChg chg="undo custSel modSld">
      <pc:chgData name="Peter Jankovský" userId="0f9f04bc-ec60-4337-914d-b29f40e6ede0" providerId="ADAL" clId="{52C5B823-3361-4FB1-9E4C-BF634F4BEC02}" dt="2020-09-23T06:34:45.055" v="144" actId="113"/>
      <pc:docMkLst>
        <pc:docMk/>
      </pc:docMkLst>
      <pc:sldChg chg="modSp mod">
        <pc:chgData name="Peter Jankovský" userId="0f9f04bc-ec60-4337-914d-b29f40e6ede0" providerId="ADAL" clId="{52C5B823-3361-4FB1-9E4C-BF634F4BEC02}" dt="2020-09-23T06:34:45.055" v="144" actId="113"/>
        <pc:sldMkLst>
          <pc:docMk/>
          <pc:sldMk cId="1880138099" sldId="259"/>
        </pc:sldMkLst>
        <pc:spChg chg="mod">
          <ac:chgData name="Peter Jankovský" userId="0f9f04bc-ec60-4337-914d-b29f40e6ede0" providerId="ADAL" clId="{52C5B823-3361-4FB1-9E4C-BF634F4BEC02}" dt="2020-08-18T07:54:21.226" v="56" actId="790"/>
          <ac:spMkLst>
            <pc:docMk/>
            <pc:sldMk cId="1880138099" sldId="259"/>
            <ac:spMk id="2" creationId="{00000000-0000-0000-0000-000000000000}"/>
          </ac:spMkLst>
        </pc:spChg>
        <pc:graphicFrameChg chg="mod">
          <ac:chgData name="Peter Jankovský" userId="0f9f04bc-ec60-4337-914d-b29f40e6ede0" providerId="ADAL" clId="{52C5B823-3361-4FB1-9E4C-BF634F4BEC02}" dt="2020-09-23T06:34:45.055" v="144" actId="113"/>
          <ac:graphicFrameMkLst>
            <pc:docMk/>
            <pc:sldMk cId="1880138099" sldId="259"/>
            <ac:graphicFrameMk id="4" creationId="{00000000-0000-0000-0000-000000000000}"/>
          </ac:graphicFrameMkLst>
        </pc:graphicFrameChg>
      </pc:sldChg>
      <pc:sldChg chg="modSp mod">
        <pc:chgData name="Peter Jankovský" userId="0f9f04bc-ec60-4337-914d-b29f40e6ede0" providerId="ADAL" clId="{52C5B823-3361-4FB1-9E4C-BF634F4BEC02}" dt="2020-08-18T07:57:06.943" v="139" actId="20577"/>
        <pc:sldMkLst>
          <pc:docMk/>
          <pc:sldMk cId="2784859303" sldId="271"/>
        </pc:sldMkLst>
        <pc:spChg chg="mod">
          <ac:chgData name="Peter Jankovský" userId="0f9f04bc-ec60-4337-914d-b29f40e6ede0" providerId="ADAL" clId="{52C5B823-3361-4FB1-9E4C-BF634F4BEC02}" dt="2020-08-18T07:57:06.943" v="139" actId="20577"/>
          <ac:spMkLst>
            <pc:docMk/>
            <pc:sldMk cId="2784859303" sldId="271"/>
            <ac:spMk id="2" creationId="{FF3A41C8-4902-42A8-AB3A-AE49E16A4DDC}"/>
          </ac:spMkLst>
        </pc:spChg>
      </pc:sldChg>
    </pc:docChg>
  </pc:docChgLst>
  <pc:docChgLst>
    <pc:chgData name="Peter Jankovský" userId="0f9f04bc-ec60-4337-914d-b29f40e6ede0" providerId="ADAL" clId="{43F47A96-892D-473A-87AA-D60028AEC97B}"/>
    <pc:docChg chg="custSel addSld delSld modSld">
      <pc:chgData name="Peter Jankovský" userId="0f9f04bc-ec60-4337-914d-b29f40e6ede0" providerId="ADAL" clId="{43F47A96-892D-473A-87AA-D60028AEC97B}" dt="2021-04-29T09:29:49.664" v="83" actId="1076"/>
      <pc:docMkLst>
        <pc:docMk/>
      </pc:docMkLst>
      <pc:sldChg chg="modSp mod">
        <pc:chgData name="Peter Jankovský" userId="0f9f04bc-ec60-4337-914d-b29f40e6ede0" providerId="ADAL" clId="{43F47A96-892D-473A-87AA-D60028AEC97B}" dt="2021-04-29T08:23:24.204" v="3" actId="20577"/>
        <pc:sldMkLst>
          <pc:docMk/>
          <pc:sldMk cId="2274796260" sldId="256"/>
        </pc:sldMkLst>
        <pc:spChg chg="mod">
          <ac:chgData name="Peter Jankovský" userId="0f9f04bc-ec60-4337-914d-b29f40e6ede0" providerId="ADAL" clId="{43F47A96-892D-473A-87AA-D60028AEC97B}" dt="2021-04-29T08:23:24.204" v="3" actId="20577"/>
          <ac:spMkLst>
            <pc:docMk/>
            <pc:sldMk cId="2274796260" sldId="256"/>
            <ac:spMk id="2" creationId="{5D3608AC-5E80-44FE-BFCF-7CF2C6E3B254}"/>
          </ac:spMkLst>
        </pc:spChg>
      </pc:sldChg>
      <pc:sldChg chg="del">
        <pc:chgData name="Peter Jankovský" userId="0f9f04bc-ec60-4337-914d-b29f40e6ede0" providerId="ADAL" clId="{43F47A96-892D-473A-87AA-D60028AEC97B}" dt="2021-04-29T08:23:12.248" v="1" actId="47"/>
        <pc:sldMkLst>
          <pc:docMk/>
          <pc:sldMk cId="1880138099" sldId="259"/>
        </pc:sldMkLst>
      </pc:sldChg>
      <pc:sldChg chg="addSp delSp modSp mod">
        <pc:chgData name="Peter Jankovský" userId="0f9f04bc-ec60-4337-914d-b29f40e6ede0" providerId="ADAL" clId="{43F47A96-892D-473A-87AA-D60028AEC97B}" dt="2021-04-29T09:29:49.664" v="83" actId="1076"/>
        <pc:sldMkLst>
          <pc:docMk/>
          <pc:sldMk cId="2879402467" sldId="273"/>
        </pc:sldMkLst>
        <pc:spChg chg="mod">
          <ac:chgData name="Peter Jankovský" userId="0f9f04bc-ec60-4337-914d-b29f40e6ede0" providerId="ADAL" clId="{43F47A96-892D-473A-87AA-D60028AEC97B}" dt="2021-04-29T09:22:41.449" v="63" actId="20577"/>
          <ac:spMkLst>
            <pc:docMk/>
            <pc:sldMk cId="2879402467" sldId="273"/>
            <ac:spMk id="7" creationId="{EF56FF7B-85FF-4ADD-B533-47DEC7B3E272}"/>
          </ac:spMkLst>
        </pc:spChg>
        <pc:picChg chg="del">
          <ac:chgData name="Peter Jankovský" userId="0f9f04bc-ec60-4337-914d-b29f40e6ede0" providerId="ADAL" clId="{43F47A96-892D-473A-87AA-D60028AEC97B}" dt="2021-04-29T09:29:07.013" v="69" actId="478"/>
          <ac:picMkLst>
            <pc:docMk/>
            <pc:sldMk cId="2879402467" sldId="273"/>
            <ac:picMk id="3" creationId="{33F07511-F535-4AE0-AC86-4B536462A91C}"/>
          </ac:picMkLst>
        </pc:picChg>
        <pc:picChg chg="add mod">
          <ac:chgData name="Peter Jankovský" userId="0f9f04bc-ec60-4337-914d-b29f40e6ede0" providerId="ADAL" clId="{43F47A96-892D-473A-87AA-D60028AEC97B}" dt="2021-04-29T09:29:49.664" v="83" actId="1076"/>
          <ac:picMkLst>
            <pc:docMk/>
            <pc:sldMk cId="2879402467" sldId="273"/>
            <ac:picMk id="4" creationId="{EF3C49C4-6A2C-44CF-BFE9-762062E76FA2}"/>
          </ac:picMkLst>
        </pc:picChg>
      </pc:sldChg>
      <pc:sldChg chg="modSp mod">
        <pc:chgData name="Peter Jankovský" userId="0f9f04bc-ec60-4337-914d-b29f40e6ede0" providerId="ADAL" clId="{43F47A96-892D-473A-87AA-D60028AEC97B}" dt="2021-04-29T09:22:06.108" v="48" actId="207"/>
        <pc:sldMkLst>
          <pc:docMk/>
          <pc:sldMk cId="4251123589" sldId="693"/>
        </pc:sldMkLst>
        <pc:spChg chg="mod">
          <ac:chgData name="Peter Jankovský" userId="0f9f04bc-ec60-4337-914d-b29f40e6ede0" providerId="ADAL" clId="{43F47A96-892D-473A-87AA-D60028AEC97B}" dt="2021-04-29T09:22:06.108" v="48" actId="207"/>
          <ac:spMkLst>
            <pc:docMk/>
            <pc:sldMk cId="4251123589" sldId="693"/>
            <ac:spMk id="20" creationId="{8F373ADB-FA28-40E7-9293-2C5A72C0A1A6}"/>
          </ac:spMkLst>
        </pc:spChg>
        <pc:spChg chg="mod">
          <ac:chgData name="Peter Jankovský" userId="0f9f04bc-ec60-4337-914d-b29f40e6ede0" providerId="ADAL" clId="{43F47A96-892D-473A-87AA-D60028AEC97B}" dt="2021-04-29T09:21:51.429" v="47" actId="207"/>
          <ac:spMkLst>
            <pc:docMk/>
            <pc:sldMk cId="4251123589" sldId="693"/>
            <ac:spMk id="21" creationId="{72035069-1B0A-4EC1-80CB-00C50DB00F0E}"/>
          </ac:spMkLst>
        </pc:spChg>
      </pc:sldChg>
      <pc:sldChg chg="addSp delSp modSp mod">
        <pc:chgData name="Peter Jankovský" userId="0f9f04bc-ec60-4337-914d-b29f40e6ede0" providerId="ADAL" clId="{43F47A96-892D-473A-87AA-D60028AEC97B}" dt="2021-04-29T09:26:06.312" v="68" actId="1076"/>
        <pc:sldMkLst>
          <pc:docMk/>
          <pc:sldMk cId="1552312079" sldId="702"/>
        </pc:sldMkLst>
        <pc:picChg chg="add mod">
          <ac:chgData name="Peter Jankovský" userId="0f9f04bc-ec60-4337-914d-b29f40e6ede0" providerId="ADAL" clId="{43F47A96-892D-473A-87AA-D60028AEC97B}" dt="2021-04-29T09:26:06.312" v="68" actId="1076"/>
          <ac:picMkLst>
            <pc:docMk/>
            <pc:sldMk cId="1552312079" sldId="702"/>
            <ac:picMk id="3" creationId="{FAE7E2B5-64DB-496F-AFB0-0391E1EA47C4}"/>
          </ac:picMkLst>
        </pc:picChg>
        <pc:picChg chg="del">
          <ac:chgData name="Peter Jankovský" userId="0f9f04bc-ec60-4337-914d-b29f40e6ede0" providerId="ADAL" clId="{43F47A96-892D-473A-87AA-D60028AEC97B}" dt="2021-04-29T09:25:55.617" v="64" actId="478"/>
          <ac:picMkLst>
            <pc:docMk/>
            <pc:sldMk cId="1552312079" sldId="702"/>
            <ac:picMk id="7" creationId="{F53FC989-2A55-4D8F-9A80-1B094CF33F16}"/>
          </ac:picMkLst>
        </pc:picChg>
      </pc:sldChg>
      <pc:sldChg chg="modSp add">
        <pc:chgData name="Peter Jankovský" userId="0f9f04bc-ec60-4337-914d-b29f40e6ede0" providerId="ADAL" clId="{43F47A96-892D-473A-87AA-D60028AEC97B}" dt="2021-04-29T09:20:04.723" v="42" actId="20577"/>
        <pc:sldMkLst>
          <pc:docMk/>
          <pc:sldMk cId="2024701915" sldId="704"/>
        </pc:sldMkLst>
        <pc:graphicFrameChg chg="mod">
          <ac:chgData name="Peter Jankovský" userId="0f9f04bc-ec60-4337-914d-b29f40e6ede0" providerId="ADAL" clId="{43F47A96-892D-473A-87AA-D60028AEC97B}" dt="2021-04-29T09:20:04.723" v="42" actId="20577"/>
          <ac:graphicFrameMkLst>
            <pc:docMk/>
            <pc:sldMk cId="2024701915" sldId="704"/>
            <ac:graphicFrameMk id="4" creationId="{00000000-0000-0000-0000-000000000000}"/>
          </ac:graphicFrameMkLst>
        </pc:graphicFrameChg>
      </pc:sldChg>
    </pc:docChg>
  </pc:docChgLst>
  <pc:docChgLst>
    <pc:chgData name="Peter Jankovsky" userId="0f9f04bc-ec60-4337-914d-b29f40e6ede0" providerId="ADAL" clId="{DF9C8287-8C99-4EAB-B7D7-BF1464FABE8B}"/>
    <pc:docChg chg="undo custSel addSld modSld sldOrd">
      <pc:chgData name="Peter Jankovsky" userId="0f9f04bc-ec60-4337-914d-b29f40e6ede0" providerId="ADAL" clId="{DF9C8287-8C99-4EAB-B7D7-BF1464FABE8B}" dt="2019-12-15T16:00:10.810" v="120" actId="207"/>
      <pc:docMkLst>
        <pc:docMk/>
      </pc:docMkLst>
      <pc:sldChg chg="mod modTransition modShow">
        <pc:chgData name="Peter Jankovsky" userId="0f9f04bc-ec60-4337-914d-b29f40e6ede0" providerId="ADAL" clId="{DF9C8287-8C99-4EAB-B7D7-BF1464FABE8B}" dt="2019-12-15T15:56:18.080" v="2"/>
        <pc:sldMkLst>
          <pc:docMk/>
          <pc:sldMk cId="2195467662" sldId="698"/>
        </pc:sldMkLst>
      </pc:sldChg>
      <pc:sldChg chg="ord">
        <pc:chgData name="Peter Jankovsky" userId="0f9f04bc-ec60-4337-914d-b29f40e6ede0" providerId="ADAL" clId="{DF9C8287-8C99-4EAB-B7D7-BF1464FABE8B}" dt="2019-12-15T15:59:32.572" v="115"/>
        <pc:sldMkLst>
          <pc:docMk/>
          <pc:sldMk cId="1380303308" sldId="699"/>
        </pc:sldMkLst>
      </pc:sldChg>
      <pc:sldChg chg="addSp delSp modSp add">
        <pc:chgData name="Peter Jankovsky" userId="0f9f04bc-ec60-4337-914d-b29f40e6ede0" providerId="ADAL" clId="{DF9C8287-8C99-4EAB-B7D7-BF1464FABE8B}" dt="2019-12-15T16:00:10.810" v="120" actId="207"/>
        <pc:sldMkLst>
          <pc:docMk/>
          <pc:sldMk cId="1552312079" sldId="702"/>
        </pc:sldMkLst>
        <pc:spChg chg="del">
          <ac:chgData name="Peter Jankovsky" userId="0f9f04bc-ec60-4337-914d-b29f40e6ede0" providerId="ADAL" clId="{DF9C8287-8C99-4EAB-B7D7-BF1464FABE8B}" dt="2019-12-15T15:56:25.068" v="4" actId="478"/>
          <ac:spMkLst>
            <pc:docMk/>
            <pc:sldMk cId="1552312079" sldId="702"/>
            <ac:spMk id="2" creationId="{993E81CE-1A46-4477-B746-C00BCA922C16}"/>
          </ac:spMkLst>
        </pc:spChg>
        <pc:spChg chg="del">
          <ac:chgData name="Peter Jankovsky" userId="0f9f04bc-ec60-4337-914d-b29f40e6ede0" providerId="ADAL" clId="{DF9C8287-8C99-4EAB-B7D7-BF1464FABE8B}" dt="2019-12-15T15:56:28.411" v="6" actId="478"/>
          <ac:spMkLst>
            <pc:docMk/>
            <pc:sldMk cId="1552312079" sldId="702"/>
            <ac:spMk id="3" creationId="{F4BE998B-B6A1-4168-B706-8AC2A9850FCA}"/>
          </ac:spMkLst>
        </pc:spChg>
        <pc:spChg chg="del">
          <ac:chgData name="Peter Jankovsky" userId="0f9f04bc-ec60-4337-914d-b29f40e6ede0" providerId="ADAL" clId="{DF9C8287-8C99-4EAB-B7D7-BF1464FABE8B}" dt="2019-12-15T15:56:26.756" v="5" actId="478"/>
          <ac:spMkLst>
            <pc:docMk/>
            <pc:sldMk cId="1552312079" sldId="702"/>
            <ac:spMk id="4" creationId="{2621EA11-8227-4D36-9580-EA223F129BE1}"/>
          </ac:spMkLst>
        </pc:spChg>
        <pc:spChg chg="add mod">
          <ac:chgData name="Peter Jankovsky" userId="0f9f04bc-ec60-4337-914d-b29f40e6ede0" providerId="ADAL" clId="{DF9C8287-8C99-4EAB-B7D7-BF1464FABE8B}" dt="2019-12-15T16:00:10.810" v="120" actId="207"/>
          <ac:spMkLst>
            <pc:docMk/>
            <pc:sldMk cId="1552312079" sldId="702"/>
            <ac:spMk id="5" creationId="{C76A96F0-BE82-43B6-9F5E-FD715765993F}"/>
          </ac:spMkLst>
        </pc:spChg>
        <pc:picChg chg="add mod">
          <ac:chgData name="Peter Jankovsky" userId="0f9f04bc-ec60-4337-914d-b29f40e6ede0" providerId="ADAL" clId="{DF9C8287-8C99-4EAB-B7D7-BF1464FABE8B}" dt="2019-12-15T15:58:44.790" v="63" actId="14100"/>
          <ac:picMkLst>
            <pc:docMk/>
            <pc:sldMk cId="1552312079" sldId="702"/>
            <ac:picMk id="6" creationId="{2A759269-DDEF-4E9F-B98D-4AD177C83358}"/>
          </ac:picMkLst>
        </pc:picChg>
        <pc:picChg chg="add mod">
          <ac:chgData name="Peter Jankovsky" userId="0f9f04bc-ec60-4337-914d-b29f40e6ede0" providerId="ADAL" clId="{DF9C8287-8C99-4EAB-B7D7-BF1464FABE8B}" dt="2019-12-15T15:58:56.212" v="85" actId="1076"/>
          <ac:picMkLst>
            <pc:docMk/>
            <pc:sldMk cId="1552312079" sldId="702"/>
            <ac:picMk id="7" creationId="{D4CA500B-A519-4449-A24F-1AF568C7CFAB}"/>
          </ac:picMkLst>
        </pc:picChg>
      </pc:sldChg>
    </pc:docChg>
  </pc:docChgLst>
  <pc:docChgLst>
    <pc:chgData name="Peter Jankovský" userId="0f9f04bc-ec60-4337-914d-b29f40e6ede0" providerId="ADAL" clId="{DA5792BB-E763-4DB2-AB7A-FB1F781005F1}"/>
    <pc:docChg chg="custSel modSld sldOrd">
      <pc:chgData name="Peter Jankovský" userId="0f9f04bc-ec60-4337-914d-b29f40e6ede0" providerId="ADAL" clId="{DA5792BB-E763-4DB2-AB7A-FB1F781005F1}" dt="2020-02-12T18:29:22.808" v="18"/>
      <pc:docMkLst>
        <pc:docMk/>
      </pc:docMkLst>
      <pc:sldChg chg="modSp">
        <pc:chgData name="Peter Jankovský" userId="0f9f04bc-ec60-4337-914d-b29f40e6ede0" providerId="ADAL" clId="{DA5792BB-E763-4DB2-AB7A-FB1F781005F1}" dt="2020-02-12T18:28:28.738" v="12" actId="20577"/>
        <pc:sldMkLst>
          <pc:docMk/>
          <pc:sldMk cId="4251123589" sldId="693"/>
        </pc:sldMkLst>
        <pc:spChg chg="mod">
          <ac:chgData name="Peter Jankovský" userId="0f9f04bc-ec60-4337-914d-b29f40e6ede0" providerId="ADAL" clId="{DA5792BB-E763-4DB2-AB7A-FB1F781005F1}" dt="2020-02-12T18:28:28.738" v="12" actId="20577"/>
          <ac:spMkLst>
            <pc:docMk/>
            <pc:sldMk cId="4251123589" sldId="693"/>
            <ac:spMk id="19" creationId="{E8742ECE-AE7F-4CA3-97BC-273AB0F462DC}"/>
          </ac:spMkLst>
        </pc:spChg>
      </pc:sldChg>
      <pc:sldChg chg="ord">
        <pc:chgData name="Peter Jankovský" userId="0f9f04bc-ec60-4337-914d-b29f40e6ede0" providerId="ADAL" clId="{DA5792BB-E763-4DB2-AB7A-FB1F781005F1}" dt="2020-02-12T18:29:22.808" v="18"/>
        <pc:sldMkLst>
          <pc:docMk/>
          <pc:sldMk cId="1380303308" sldId="699"/>
        </pc:sldMkLst>
      </pc:sldChg>
      <pc:sldChg chg="modSp">
        <pc:chgData name="Peter Jankovský" userId="0f9f04bc-ec60-4337-914d-b29f40e6ede0" providerId="ADAL" clId="{DA5792BB-E763-4DB2-AB7A-FB1F781005F1}" dt="2020-02-12T18:28:32.776" v="14" actId="20577"/>
        <pc:sldMkLst>
          <pc:docMk/>
          <pc:sldMk cId="4181726520" sldId="701"/>
        </pc:sldMkLst>
        <pc:spChg chg="mod">
          <ac:chgData name="Peter Jankovský" userId="0f9f04bc-ec60-4337-914d-b29f40e6ede0" providerId="ADAL" clId="{DA5792BB-E763-4DB2-AB7A-FB1F781005F1}" dt="2020-02-12T18:28:32.776" v="14" actId="20577"/>
          <ac:spMkLst>
            <pc:docMk/>
            <pc:sldMk cId="4181726520" sldId="701"/>
            <ac:spMk id="19" creationId="{E8742ECE-AE7F-4CA3-97BC-273AB0F462DC}"/>
          </ac:spMkLst>
        </pc:spChg>
      </pc:sldChg>
      <pc:sldChg chg="addSp delSp modSp ord">
        <pc:chgData name="Peter Jankovský" userId="0f9f04bc-ec60-4337-914d-b29f40e6ede0" providerId="ADAL" clId="{DA5792BB-E763-4DB2-AB7A-FB1F781005F1}" dt="2020-02-12T18:29:04.454" v="16"/>
        <pc:sldMkLst>
          <pc:docMk/>
          <pc:sldMk cId="1552312079" sldId="702"/>
        </pc:sldMkLst>
        <pc:picChg chg="add mod ord">
          <ac:chgData name="Peter Jankovský" userId="0f9f04bc-ec60-4337-914d-b29f40e6ede0" providerId="ADAL" clId="{DA5792BB-E763-4DB2-AB7A-FB1F781005F1}" dt="2020-02-12T18:28:06.336" v="10" actId="14100"/>
          <ac:picMkLst>
            <pc:docMk/>
            <pc:sldMk cId="1552312079" sldId="702"/>
            <ac:picMk id="2" creationId="{CC76E91B-F65F-4AC9-A593-0C334541D470}"/>
          </ac:picMkLst>
        </pc:picChg>
        <pc:picChg chg="add mod">
          <ac:chgData name="Peter Jankovský" userId="0f9f04bc-ec60-4337-914d-b29f40e6ede0" providerId="ADAL" clId="{DA5792BB-E763-4DB2-AB7A-FB1F781005F1}" dt="2020-02-12T18:27:47.258" v="6" actId="1076"/>
          <ac:picMkLst>
            <pc:docMk/>
            <pc:sldMk cId="1552312079" sldId="702"/>
            <ac:picMk id="3" creationId="{C90F3069-355D-4196-9BB0-433EBC7BE191}"/>
          </ac:picMkLst>
        </pc:picChg>
        <pc:picChg chg="del">
          <ac:chgData name="Peter Jankovský" userId="0f9f04bc-ec60-4337-914d-b29f40e6ede0" providerId="ADAL" clId="{DA5792BB-E763-4DB2-AB7A-FB1F781005F1}" dt="2020-02-12T18:27:22.263" v="0" actId="478"/>
          <ac:picMkLst>
            <pc:docMk/>
            <pc:sldMk cId="1552312079" sldId="702"/>
            <ac:picMk id="6" creationId="{2A759269-DDEF-4E9F-B98D-4AD177C83358}"/>
          </ac:picMkLst>
        </pc:picChg>
        <pc:picChg chg="del">
          <ac:chgData name="Peter Jankovský" userId="0f9f04bc-ec60-4337-914d-b29f40e6ede0" providerId="ADAL" clId="{DA5792BB-E763-4DB2-AB7A-FB1F781005F1}" dt="2020-02-12T18:27:32.713" v="4" actId="478"/>
          <ac:picMkLst>
            <pc:docMk/>
            <pc:sldMk cId="1552312079" sldId="702"/>
            <ac:picMk id="7" creationId="{D4CA500B-A519-4449-A24F-1AF568C7CFAB}"/>
          </ac:picMkLst>
        </pc:picChg>
      </pc:sldChg>
    </pc:docChg>
  </pc:docChgLst>
  <pc:docChgLst>
    <pc:chgData name="Peter Jankovský" userId="0f9f04bc-ec60-4337-914d-b29f40e6ede0" providerId="ADAL" clId="{E251FFEA-AB64-4896-9BA2-5DA9FAA13023}"/>
    <pc:docChg chg="undo custSel modSld">
      <pc:chgData name="Peter Jankovský" userId="0f9f04bc-ec60-4337-914d-b29f40e6ede0" providerId="ADAL" clId="{E251FFEA-AB64-4896-9BA2-5DA9FAA13023}" dt="2021-09-24T10:20:19.531" v="93" actId="14100"/>
      <pc:docMkLst>
        <pc:docMk/>
      </pc:docMkLst>
      <pc:sldChg chg="addSp delSp modSp mod">
        <pc:chgData name="Peter Jankovský" userId="0f9f04bc-ec60-4337-914d-b29f40e6ede0" providerId="ADAL" clId="{E251FFEA-AB64-4896-9BA2-5DA9FAA13023}" dt="2021-09-24T10:20:19.531" v="93" actId="14100"/>
        <pc:sldMkLst>
          <pc:docMk/>
          <pc:sldMk cId="4120783338" sldId="263"/>
        </pc:sldMkLst>
        <pc:picChg chg="mod">
          <ac:chgData name="Peter Jankovský" userId="0f9f04bc-ec60-4337-914d-b29f40e6ede0" providerId="ADAL" clId="{E251FFEA-AB64-4896-9BA2-5DA9FAA13023}" dt="2021-09-23T11:28:42.651" v="40" actId="1076"/>
          <ac:picMkLst>
            <pc:docMk/>
            <pc:sldMk cId="4120783338" sldId="263"/>
            <ac:picMk id="2" creationId="{8E9CC135-059A-4F23-9E54-8DF8B0B02A2C}"/>
          </ac:picMkLst>
        </pc:picChg>
        <pc:picChg chg="mod">
          <ac:chgData name="Peter Jankovský" userId="0f9f04bc-ec60-4337-914d-b29f40e6ede0" providerId="ADAL" clId="{E251FFEA-AB64-4896-9BA2-5DA9FAA13023}" dt="2021-09-23T11:30:33.412" v="52" actId="1076"/>
          <ac:picMkLst>
            <pc:docMk/>
            <pc:sldMk cId="4120783338" sldId="263"/>
            <ac:picMk id="4" creationId="{94143C65-4249-4FE2-801B-02359B067C4E}"/>
          </ac:picMkLst>
        </pc:picChg>
        <pc:picChg chg="mod">
          <ac:chgData name="Peter Jankovský" userId="0f9f04bc-ec60-4337-914d-b29f40e6ede0" providerId="ADAL" clId="{E251FFEA-AB64-4896-9BA2-5DA9FAA13023}" dt="2021-09-23T11:04:24.335" v="7" actId="14100"/>
          <ac:picMkLst>
            <pc:docMk/>
            <pc:sldMk cId="4120783338" sldId="263"/>
            <ac:picMk id="13" creationId="{254DA1FD-62B1-4F0B-9135-C0B9054E5929}"/>
          </ac:picMkLst>
        </pc:picChg>
        <pc:picChg chg="mod">
          <ac:chgData name="Peter Jankovský" userId="0f9f04bc-ec60-4337-914d-b29f40e6ede0" providerId="ADAL" clId="{E251FFEA-AB64-4896-9BA2-5DA9FAA13023}" dt="2021-09-23T11:31:48.888" v="73" actId="1076"/>
          <ac:picMkLst>
            <pc:docMk/>
            <pc:sldMk cId="4120783338" sldId="263"/>
            <ac:picMk id="14" creationId="{A0D2D1C6-DBDB-4235-BD2D-B00B3DDD2468}"/>
          </ac:picMkLst>
        </pc:picChg>
        <pc:picChg chg="mod">
          <ac:chgData name="Peter Jankovský" userId="0f9f04bc-ec60-4337-914d-b29f40e6ede0" providerId="ADAL" clId="{E251FFEA-AB64-4896-9BA2-5DA9FAA13023}" dt="2021-09-23T11:38:20.625" v="84" actId="1076"/>
          <ac:picMkLst>
            <pc:docMk/>
            <pc:sldMk cId="4120783338" sldId="263"/>
            <ac:picMk id="15" creationId="{249BF5AF-9943-4EB3-8AB1-3F18AB995826}"/>
          </ac:picMkLst>
        </pc:picChg>
        <pc:picChg chg="mod">
          <ac:chgData name="Peter Jankovský" userId="0f9f04bc-ec60-4337-914d-b29f40e6ede0" providerId="ADAL" clId="{E251FFEA-AB64-4896-9BA2-5DA9FAA13023}" dt="2021-09-23T11:04:04.068" v="6" actId="1076"/>
          <ac:picMkLst>
            <pc:docMk/>
            <pc:sldMk cId="4120783338" sldId="263"/>
            <ac:picMk id="21" creationId="{B9FF3EFB-60E7-48B6-AF15-5F4CB8668B41}"/>
          </ac:picMkLst>
        </pc:picChg>
        <pc:picChg chg="add mod">
          <ac:chgData name="Peter Jankovský" userId="0f9f04bc-ec60-4337-914d-b29f40e6ede0" providerId="ADAL" clId="{E251FFEA-AB64-4896-9BA2-5DA9FAA13023}" dt="2021-09-23T11:03:58.799" v="5" actId="1076"/>
          <ac:picMkLst>
            <pc:docMk/>
            <pc:sldMk cId="4120783338" sldId="263"/>
            <ac:picMk id="22" creationId="{520D9F30-DCCD-462F-B999-2A3D31C69ECD}"/>
          </ac:picMkLst>
        </pc:picChg>
        <pc:picChg chg="mod">
          <ac:chgData name="Peter Jankovský" userId="0f9f04bc-ec60-4337-914d-b29f40e6ede0" providerId="ADAL" clId="{E251FFEA-AB64-4896-9BA2-5DA9FAA13023}" dt="2021-09-23T11:30:45.526" v="56" actId="1076"/>
          <ac:picMkLst>
            <pc:docMk/>
            <pc:sldMk cId="4120783338" sldId="263"/>
            <ac:picMk id="23" creationId="{CFB6E9F1-7EEA-4F28-A5F3-C4D3F5B53EBC}"/>
          </ac:picMkLst>
        </pc:picChg>
        <pc:picChg chg="add mod">
          <ac:chgData name="Peter Jankovský" userId="0f9f04bc-ec60-4337-914d-b29f40e6ede0" providerId="ADAL" clId="{E251FFEA-AB64-4896-9BA2-5DA9FAA13023}" dt="2021-09-24T10:20:15.981" v="92" actId="1076"/>
          <ac:picMkLst>
            <pc:docMk/>
            <pc:sldMk cId="4120783338" sldId="263"/>
            <ac:picMk id="26" creationId="{913F97B3-E7EB-4891-B2B3-ED74F2F2BF3A}"/>
          </ac:picMkLst>
        </pc:picChg>
        <pc:picChg chg="mod">
          <ac:chgData name="Peter Jankovský" userId="0f9f04bc-ec60-4337-914d-b29f40e6ede0" providerId="ADAL" clId="{E251FFEA-AB64-4896-9BA2-5DA9FAA13023}" dt="2021-09-23T11:27:07.381" v="15" actId="14100"/>
          <ac:picMkLst>
            <pc:docMk/>
            <pc:sldMk cId="4120783338" sldId="263"/>
            <ac:picMk id="27" creationId="{E61B493E-A95F-4A50-AE9C-FB108D0D0C3A}"/>
          </ac:picMkLst>
        </pc:picChg>
        <pc:picChg chg="add mod">
          <ac:chgData name="Peter Jankovský" userId="0f9f04bc-ec60-4337-914d-b29f40e6ede0" providerId="ADAL" clId="{E251FFEA-AB64-4896-9BA2-5DA9FAA13023}" dt="2021-09-23T11:38:00.408" v="81" actId="14100"/>
          <ac:picMkLst>
            <pc:docMk/>
            <pc:sldMk cId="4120783338" sldId="263"/>
            <ac:picMk id="28" creationId="{46480369-190B-4CE6-A00A-BA9A1006B468}"/>
          </ac:picMkLst>
        </pc:picChg>
        <pc:picChg chg="mod">
          <ac:chgData name="Peter Jankovský" userId="0f9f04bc-ec60-4337-914d-b29f40e6ede0" providerId="ADAL" clId="{E251FFEA-AB64-4896-9BA2-5DA9FAA13023}" dt="2021-09-23T11:31:35.515" v="70" actId="1076"/>
          <ac:picMkLst>
            <pc:docMk/>
            <pc:sldMk cId="4120783338" sldId="263"/>
            <ac:picMk id="29" creationId="{877965AC-E992-4D47-82E8-CB74374FF784}"/>
          </ac:picMkLst>
        </pc:picChg>
        <pc:picChg chg="add del mod">
          <ac:chgData name="Peter Jankovský" userId="0f9f04bc-ec60-4337-914d-b29f40e6ede0" providerId="ADAL" clId="{E251FFEA-AB64-4896-9BA2-5DA9FAA13023}" dt="2021-09-23T11:27:52.358" v="19" actId="22"/>
          <ac:picMkLst>
            <pc:docMk/>
            <pc:sldMk cId="4120783338" sldId="263"/>
            <ac:picMk id="32" creationId="{2320FD09-D68B-4A7E-B848-11DD1EB134C4}"/>
          </ac:picMkLst>
        </pc:picChg>
        <pc:picChg chg="add mod">
          <ac:chgData name="Peter Jankovský" userId="0f9f04bc-ec60-4337-914d-b29f40e6ede0" providerId="ADAL" clId="{E251FFEA-AB64-4896-9BA2-5DA9FAA13023}" dt="2021-09-23T11:28:20.790" v="24" actId="1076"/>
          <ac:picMkLst>
            <pc:docMk/>
            <pc:sldMk cId="4120783338" sldId="263"/>
            <ac:picMk id="34" creationId="{FA71FF27-8B0C-4DBF-A638-60FD3A9D067E}"/>
          </ac:picMkLst>
        </pc:picChg>
        <pc:picChg chg="mod ord">
          <ac:chgData name="Peter Jankovský" userId="0f9f04bc-ec60-4337-914d-b29f40e6ede0" providerId="ADAL" clId="{E251FFEA-AB64-4896-9BA2-5DA9FAA13023}" dt="2021-09-23T11:37:57.861" v="80" actId="1076"/>
          <ac:picMkLst>
            <pc:docMk/>
            <pc:sldMk cId="4120783338" sldId="263"/>
            <ac:picMk id="35" creationId="{4A004A97-C6F8-4402-8A7B-13402CDE7273}"/>
          </ac:picMkLst>
        </pc:picChg>
        <pc:picChg chg="add mod">
          <ac:chgData name="Peter Jankovský" userId="0f9f04bc-ec60-4337-914d-b29f40e6ede0" providerId="ADAL" clId="{E251FFEA-AB64-4896-9BA2-5DA9FAA13023}" dt="2021-09-23T11:30:30.769" v="51" actId="1076"/>
          <ac:picMkLst>
            <pc:docMk/>
            <pc:sldMk cId="4120783338" sldId="263"/>
            <ac:picMk id="37" creationId="{A9E28ED2-2E72-47AF-AD17-57C9EA04B8CA}"/>
          </ac:picMkLst>
        </pc:picChg>
        <pc:picChg chg="mod">
          <ac:chgData name="Peter Jankovský" userId="0f9f04bc-ec60-4337-914d-b29f40e6ede0" providerId="ADAL" clId="{E251FFEA-AB64-4896-9BA2-5DA9FAA13023}" dt="2021-09-24T10:20:19.531" v="93" actId="14100"/>
          <ac:picMkLst>
            <pc:docMk/>
            <pc:sldMk cId="4120783338" sldId="263"/>
            <ac:picMk id="41" creationId="{B277B24A-0699-4E2C-B22B-A57393B55C35}"/>
          </ac:picMkLst>
        </pc:picChg>
        <pc:picChg chg="mod">
          <ac:chgData name="Peter Jankovský" userId="0f9f04bc-ec60-4337-914d-b29f40e6ede0" providerId="ADAL" clId="{E251FFEA-AB64-4896-9BA2-5DA9FAA13023}" dt="2021-09-23T11:28:49.476" v="42" actId="1076"/>
          <ac:picMkLst>
            <pc:docMk/>
            <pc:sldMk cId="4120783338" sldId="263"/>
            <ac:picMk id="54" creationId="{52C30A46-484C-4E8A-A4C4-9F664CDBBFA2}"/>
          </ac:picMkLst>
        </pc:picChg>
        <pc:picChg chg="mod">
          <ac:chgData name="Peter Jankovský" userId="0f9f04bc-ec60-4337-914d-b29f40e6ede0" providerId="ADAL" clId="{E251FFEA-AB64-4896-9BA2-5DA9FAA13023}" dt="2021-09-23T11:28:55.977" v="44" actId="1076"/>
          <ac:picMkLst>
            <pc:docMk/>
            <pc:sldMk cId="4120783338" sldId="263"/>
            <ac:picMk id="55" creationId="{2EC26FC3-C82F-4406-A0A5-97CC7C8B33C0}"/>
          </ac:picMkLst>
        </pc:picChg>
        <pc:picChg chg="mod ord">
          <ac:chgData name="Peter Jankovský" userId="0f9f04bc-ec60-4337-914d-b29f40e6ede0" providerId="ADAL" clId="{E251FFEA-AB64-4896-9BA2-5DA9FAA13023}" dt="2021-09-23T11:28:52.665" v="43" actId="1076"/>
          <ac:picMkLst>
            <pc:docMk/>
            <pc:sldMk cId="4120783338" sldId="263"/>
            <ac:picMk id="56" creationId="{A664A00C-1FB1-40FB-8530-EF26060A8CA4}"/>
          </ac:picMkLst>
        </pc:picChg>
        <pc:picChg chg="mod">
          <ac:chgData name="Peter Jankovský" userId="0f9f04bc-ec60-4337-914d-b29f40e6ede0" providerId="ADAL" clId="{E251FFEA-AB64-4896-9BA2-5DA9FAA13023}" dt="2021-09-23T11:31:04.994" v="60" actId="1076"/>
          <ac:picMkLst>
            <pc:docMk/>
            <pc:sldMk cId="4120783338" sldId="263"/>
            <ac:picMk id="69" creationId="{51FDAE70-1121-42AD-96B9-100F48977905}"/>
          </ac:picMkLst>
        </pc:picChg>
        <pc:picChg chg="mod">
          <ac:chgData name="Peter Jankovský" userId="0f9f04bc-ec60-4337-914d-b29f40e6ede0" providerId="ADAL" clId="{E251FFEA-AB64-4896-9BA2-5DA9FAA13023}" dt="2021-09-23T11:31:53.165" v="74" actId="1076"/>
          <ac:picMkLst>
            <pc:docMk/>
            <pc:sldMk cId="4120783338" sldId="263"/>
            <ac:picMk id="70" creationId="{AF9FDF2A-D656-40CB-9055-1A08AFB6ED29}"/>
          </ac:picMkLst>
        </pc:picChg>
        <pc:picChg chg="mod">
          <ac:chgData name="Peter Jankovský" userId="0f9f04bc-ec60-4337-914d-b29f40e6ede0" providerId="ADAL" clId="{E251FFEA-AB64-4896-9BA2-5DA9FAA13023}" dt="2021-09-23T11:30:25.925" v="50" actId="1076"/>
          <ac:picMkLst>
            <pc:docMk/>
            <pc:sldMk cId="4120783338" sldId="263"/>
            <ac:picMk id="71" creationId="{22C2E14A-C95F-4282-B70C-0A7EE41B0029}"/>
          </ac:picMkLst>
        </pc:picChg>
        <pc:picChg chg="mod">
          <ac:chgData name="Peter Jankovský" userId="0f9f04bc-ec60-4337-914d-b29f40e6ede0" providerId="ADAL" clId="{E251FFEA-AB64-4896-9BA2-5DA9FAA13023}" dt="2021-09-23T11:38:23.361" v="85" actId="1076"/>
          <ac:picMkLst>
            <pc:docMk/>
            <pc:sldMk cId="4120783338" sldId="263"/>
            <ac:picMk id="73" creationId="{ACDDF92C-8B84-41E5-820A-899B9B8467C6}"/>
          </ac:picMkLst>
        </pc:picChg>
        <pc:picChg chg="mod">
          <ac:chgData name="Peter Jankovský" userId="0f9f04bc-ec60-4337-914d-b29f40e6ede0" providerId="ADAL" clId="{E251FFEA-AB64-4896-9BA2-5DA9FAA13023}" dt="2021-09-23T11:38:18.436" v="83" actId="14100"/>
          <ac:picMkLst>
            <pc:docMk/>
            <pc:sldMk cId="4120783338" sldId="263"/>
            <ac:picMk id="74" creationId="{542A407B-15AD-4A40-931F-245329D076C1}"/>
          </ac:picMkLst>
        </pc:picChg>
        <pc:picChg chg="mod ord">
          <ac:chgData name="Peter Jankovský" userId="0f9f04bc-ec60-4337-914d-b29f40e6ede0" providerId="ADAL" clId="{E251FFEA-AB64-4896-9BA2-5DA9FAA13023}" dt="2021-09-23T11:38:07.811" v="82" actId="166"/>
          <ac:picMkLst>
            <pc:docMk/>
            <pc:sldMk cId="4120783338" sldId="263"/>
            <ac:picMk id="75" creationId="{BFDFA6D7-C526-4B72-B5F0-F8C7FE7CEEDB}"/>
          </ac:picMkLst>
        </pc:picChg>
        <pc:picChg chg="mod">
          <ac:chgData name="Peter Jankovský" userId="0f9f04bc-ec60-4337-914d-b29f40e6ede0" providerId="ADAL" clId="{E251FFEA-AB64-4896-9BA2-5DA9FAA13023}" dt="2021-09-23T11:31:45.152" v="72" actId="1076"/>
          <ac:picMkLst>
            <pc:docMk/>
            <pc:sldMk cId="4120783338" sldId="263"/>
            <ac:picMk id="76" creationId="{AA36793E-D83F-4DB5-85D4-B676A61720C9}"/>
          </ac:picMkLst>
        </pc:picChg>
        <pc:picChg chg="mod">
          <ac:chgData name="Peter Jankovský" userId="0f9f04bc-ec60-4337-914d-b29f40e6ede0" providerId="ADAL" clId="{E251FFEA-AB64-4896-9BA2-5DA9FAA13023}" dt="2021-09-23T11:31:30.857" v="68" actId="1076"/>
          <ac:picMkLst>
            <pc:docMk/>
            <pc:sldMk cId="4120783338" sldId="263"/>
            <ac:picMk id="77" creationId="{F547848E-B8CF-442B-A33B-37BBC0013AE3}"/>
          </ac:picMkLst>
        </pc:picChg>
        <pc:picChg chg="del mod">
          <ac:chgData name="Peter Jankovský" userId="0f9f04bc-ec60-4337-914d-b29f40e6ede0" providerId="ADAL" clId="{E251FFEA-AB64-4896-9BA2-5DA9FAA13023}" dt="2021-09-23T11:37:44.575" v="77" actId="478"/>
          <ac:picMkLst>
            <pc:docMk/>
            <pc:sldMk cId="4120783338" sldId="263"/>
            <ac:picMk id="78" creationId="{92B32739-DBBA-4D6E-B746-20840A52A0FC}"/>
          </ac:picMkLst>
        </pc:picChg>
        <pc:picChg chg="mod">
          <ac:chgData name="Peter Jankovský" userId="0f9f04bc-ec60-4337-914d-b29f40e6ede0" providerId="ADAL" clId="{E251FFEA-AB64-4896-9BA2-5DA9FAA13023}" dt="2021-09-23T11:31:33.397" v="69" actId="1076"/>
          <ac:picMkLst>
            <pc:docMk/>
            <pc:sldMk cId="4120783338" sldId="263"/>
            <ac:picMk id="1028" creationId="{1826EFB1-1BED-4A78-A70B-F1DED8256409}"/>
          </ac:picMkLst>
        </pc:picChg>
      </pc:sldChg>
    </pc:docChg>
  </pc:docChgLst>
  <pc:docChgLst>
    <pc:chgData name="Peter Jankovský" userId="0f9f04bc-ec60-4337-914d-b29f40e6ede0" providerId="ADAL" clId="{CF2FD7DE-DBE2-4E38-B5F3-60D97FAFD9AD}"/>
    <pc:docChg chg="modSld">
      <pc:chgData name="Peter Jankovský" userId="0f9f04bc-ec60-4337-914d-b29f40e6ede0" providerId="ADAL" clId="{CF2FD7DE-DBE2-4E38-B5F3-60D97FAFD9AD}" dt="2019-09-18T09:41:20.613" v="49" actId="20577"/>
      <pc:docMkLst>
        <pc:docMk/>
      </pc:docMkLst>
      <pc:sldChg chg="modSp">
        <pc:chgData name="Peter Jankovský" userId="0f9f04bc-ec60-4337-914d-b29f40e6ede0" providerId="ADAL" clId="{CF2FD7DE-DBE2-4E38-B5F3-60D97FAFD9AD}" dt="2019-09-18T09:41:20.613" v="49" actId="20577"/>
        <pc:sldMkLst>
          <pc:docMk/>
          <pc:sldMk cId="1880138099" sldId="259"/>
        </pc:sldMkLst>
        <pc:graphicFrameChg chg="mod">
          <ac:chgData name="Peter Jankovský" userId="0f9f04bc-ec60-4337-914d-b29f40e6ede0" providerId="ADAL" clId="{CF2FD7DE-DBE2-4E38-B5F3-60D97FAFD9AD}" dt="2019-09-18T09:41:20.613" v="49" actId="20577"/>
          <ac:graphicFrameMkLst>
            <pc:docMk/>
            <pc:sldMk cId="1880138099" sldId="259"/>
            <ac:graphicFrameMk id="4" creationId="{00000000-0000-0000-0000-000000000000}"/>
          </ac:graphicFrameMkLst>
        </pc:graphicFrameChg>
      </pc:sldChg>
    </pc:docChg>
  </pc:docChgLst>
  <pc:docChgLst>
    <pc:chgData name="Peter Jankovsky" userId="0f9f04bc-ec60-4337-914d-b29f40e6ede0" providerId="ADAL" clId="{200F4FCF-9504-40C1-AE80-B815686A55B2}"/>
    <pc:docChg chg="undo modSld">
      <pc:chgData name="Peter Jankovsky" userId="0f9f04bc-ec60-4337-914d-b29f40e6ede0" providerId="ADAL" clId="{200F4FCF-9504-40C1-AE80-B815686A55B2}" dt="2019-05-28T07:06:15.761" v="33" actId="20577"/>
      <pc:docMkLst>
        <pc:docMk/>
      </pc:docMkLst>
      <pc:sldChg chg="addSp modSp modAnim">
        <pc:chgData name="Peter Jankovsky" userId="0f9f04bc-ec60-4337-914d-b29f40e6ede0" providerId="ADAL" clId="{200F4FCF-9504-40C1-AE80-B815686A55B2}" dt="2019-05-13T17:24:36.028" v="28" actId="14100"/>
        <pc:sldMkLst>
          <pc:docMk/>
          <pc:sldMk cId="2196778977" sldId="264"/>
        </pc:sldMkLst>
        <pc:spChg chg="mod">
          <ac:chgData name="Peter Jankovsky" userId="0f9f04bc-ec60-4337-914d-b29f40e6ede0" providerId="ADAL" clId="{200F4FCF-9504-40C1-AE80-B815686A55B2}" dt="2019-05-13T17:21:46.556" v="1" actId="1076"/>
          <ac:spMkLst>
            <pc:docMk/>
            <pc:sldMk cId="2196778977" sldId="264"/>
            <ac:spMk id="8" creationId="{0F45AF07-1A2A-49D9-85ED-3123519D3C09}"/>
          </ac:spMkLst>
        </pc:spChg>
        <pc:picChg chg="mod">
          <ac:chgData name="Peter Jankovsky" userId="0f9f04bc-ec60-4337-914d-b29f40e6ede0" providerId="ADAL" clId="{200F4FCF-9504-40C1-AE80-B815686A55B2}" dt="2019-05-13T17:24:15.106" v="25" actId="1076"/>
          <ac:picMkLst>
            <pc:docMk/>
            <pc:sldMk cId="2196778977" sldId="264"/>
            <ac:picMk id="26" creationId="{5B742FDA-9F57-4A0D-ABDD-329D4DED80FA}"/>
          </ac:picMkLst>
        </pc:picChg>
        <pc:picChg chg="mod">
          <ac:chgData name="Peter Jankovsky" userId="0f9f04bc-ec60-4337-914d-b29f40e6ede0" providerId="ADAL" clId="{200F4FCF-9504-40C1-AE80-B815686A55B2}" dt="2019-05-13T17:24:03.825" v="21" actId="1076"/>
          <ac:picMkLst>
            <pc:docMk/>
            <pc:sldMk cId="2196778977" sldId="264"/>
            <ac:picMk id="27" creationId="{C693C9CF-2234-4BD6-A0EA-EAE4865A544C}"/>
          </ac:picMkLst>
        </pc:picChg>
        <pc:picChg chg="mod">
          <ac:chgData name="Peter Jankovsky" userId="0f9f04bc-ec60-4337-914d-b29f40e6ede0" providerId="ADAL" clId="{200F4FCF-9504-40C1-AE80-B815686A55B2}" dt="2019-05-13T17:23:41.200" v="17" actId="1076"/>
          <ac:picMkLst>
            <pc:docMk/>
            <pc:sldMk cId="2196778977" sldId="264"/>
            <ac:picMk id="29" creationId="{FDA4064B-5DAF-414A-8A7D-7DED39ACFD05}"/>
          </ac:picMkLst>
        </pc:picChg>
        <pc:picChg chg="mod">
          <ac:chgData name="Peter Jankovsky" userId="0f9f04bc-ec60-4337-914d-b29f40e6ede0" providerId="ADAL" clId="{200F4FCF-9504-40C1-AE80-B815686A55B2}" dt="2019-05-13T17:23:03.406" v="12" actId="1076"/>
          <ac:picMkLst>
            <pc:docMk/>
            <pc:sldMk cId="2196778977" sldId="264"/>
            <ac:picMk id="30" creationId="{CD097D76-9695-481D-9D3D-0611B8C461DF}"/>
          </ac:picMkLst>
        </pc:picChg>
        <pc:picChg chg="mod">
          <ac:chgData name="Peter Jankovsky" userId="0f9f04bc-ec60-4337-914d-b29f40e6ede0" providerId="ADAL" clId="{200F4FCF-9504-40C1-AE80-B815686A55B2}" dt="2019-05-13T17:23:34.271" v="15" actId="1076"/>
          <ac:picMkLst>
            <pc:docMk/>
            <pc:sldMk cId="2196778977" sldId="264"/>
            <ac:picMk id="31" creationId="{970CCB0F-C862-44F6-AEDB-9A5D2E206364}"/>
          </ac:picMkLst>
        </pc:picChg>
        <pc:picChg chg="mod">
          <ac:chgData name="Peter Jankovsky" userId="0f9f04bc-ec60-4337-914d-b29f40e6ede0" providerId="ADAL" clId="{200F4FCF-9504-40C1-AE80-B815686A55B2}" dt="2019-05-13T17:23:45.495" v="18" actId="1076"/>
          <ac:picMkLst>
            <pc:docMk/>
            <pc:sldMk cId="2196778977" sldId="264"/>
            <ac:picMk id="33" creationId="{E37E0C68-927F-46A2-B860-1C5830A7FBD8}"/>
          </ac:picMkLst>
        </pc:picChg>
        <pc:picChg chg="mod">
          <ac:chgData name="Peter Jankovsky" userId="0f9f04bc-ec60-4337-914d-b29f40e6ede0" providerId="ADAL" clId="{200F4FCF-9504-40C1-AE80-B815686A55B2}" dt="2019-05-13T17:24:24.801" v="27" actId="1076"/>
          <ac:picMkLst>
            <pc:docMk/>
            <pc:sldMk cId="2196778977" sldId="264"/>
            <ac:picMk id="35" creationId="{B0C2B09E-1DCF-438E-9B92-F3059F495E26}"/>
          </ac:picMkLst>
        </pc:picChg>
        <pc:picChg chg="mod">
          <ac:chgData name="Peter Jankovsky" userId="0f9f04bc-ec60-4337-914d-b29f40e6ede0" providerId="ADAL" clId="{200F4FCF-9504-40C1-AE80-B815686A55B2}" dt="2019-05-13T17:24:36.028" v="28" actId="14100"/>
          <ac:picMkLst>
            <pc:docMk/>
            <pc:sldMk cId="2196778977" sldId="264"/>
            <ac:picMk id="43" creationId="{50C09DBE-0278-46DC-B8E6-4BFD59F827B6}"/>
          </ac:picMkLst>
        </pc:picChg>
        <pc:picChg chg="mod">
          <ac:chgData name="Peter Jankovsky" userId="0f9f04bc-ec60-4337-914d-b29f40e6ede0" providerId="ADAL" clId="{200F4FCF-9504-40C1-AE80-B815686A55B2}" dt="2019-05-13T17:22:57.060" v="11" actId="1076"/>
          <ac:picMkLst>
            <pc:docMk/>
            <pc:sldMk cId="2196778977" sldId="264"/>
            <ac:picMk id="54" creationId="{E2C4B76C-2B56-426E-8E0F-B30D59D14ED5}"/>
          </ac:picMkLst>
        </pc:picChg>
        <pc:picChg chg="mod">
          <ac:chgData name="Peter Jankovsky" userId="0f9f04bc-ec60-4337-914d-b29f40e6ede0" providerId="ADAL" clId="{200F4FCF-9504-40C1-AE80-B815686A55B2}" dt="2019-05-13T17:24:07.005" v="23" actId="14100"/>
          <ac:picMkLst>
            <pc:docMk/>
            <pc:sldMk cId="2196778977" sldId="264"/>
            <ac:picMk id="58" creationId="{E05B3EA8-E8B7-4585-A49C-03C10E8A1397}"/>
          </ac:picMkLst>
        </pc:picChg>
        <pc:picChg chg="add mod">
          <ac:chgData name="Peter Jankovsky" userId="0f9f04bc-ec60-4337-914d-b29f40e6ede0" providerId="ADAL" clId="{200F4FCF-9504-40C1-AE80-B815686A55B2}" dt="2019-05-13T17:23:50.731" v="20" actId="14100"/>
          <ac:picMkLst>
            <pc:docMk/>
            <pc:sldMk cId="2196778977" sldId="264"/>
            <ac:picMk id="59" creationId="{82537FBC-D2AE-427C-A707-6522EA22811A}"/>
          </ac:picMkLst>
        </pc:picChg>
        <pc:picChg chg="add mod">
          <ac:chgData name="Peter Jankovsky" userId="0f9f04bc-ec60-4337-914d-b29f40e6ede0" providerId="ADAL" clId="{200F4FCF-9504-40C1-AE80-B815686A55B2}" dt="2019-05-13T17:23:37.170" v="16" actId="1076"/>
          <ac:picMkLst>
            <pc:docMk/>
            <pc:sldMk cId="2196778977" sldId="264"/>
            <ac:picMk id="60" creationId="{F0EAECFB-A871-471F-BF5A-50DD2AB4BC15}"/>
          </ac:picMkLst>
        </pc:picChg>
      </pc:sldChg>
      <pc:sldChg chg="modSp">
        <pc:chgData name="Peter Jankovsky" userId="0f9f04bc-ec60-4337-914d-b29f40e6ede0" providerId="ADAL" clId="{200F4FCF-9504-40C1-AE80-B815686A55B2}" dt="2019-05-28T07:06:15.761" v="33" actId="20577"/>
        <pc:sldMkLst>
          <pc:docMk/>
          <pc:sldMk cId="4251123589" sldId="693"/>
        </pc:sldMkLst>
        <pc:spChg chg="mod">
          <ac:chgData name="Peter Jankovsky" userId="0f9f04bc-ec60-4337-914d-b29f40e6ede0" providerId="ADAL" clId="{200F4FCF-9504-40C1-AE80-B815686A55B2}" dt="2019-05-28T07:06:15.761" v="33" actId="20577"/>
          <ac:spMkLst>
            <pc:docMk/>
            <pc:sldMk cId="4251123589" sldId="693"/>
            <ac:spMk id="21" creationId="{72035069-1B0A-4EC1-80CB-00C50DB00F0E}"/>
          </ac:spMkLst>
        </pc:spChg>
        <pc:picChg chg="mod">
          <ac:chgData name="Peter Jankovsky" userId="0f9f04bc-ec60-4337-914d-b29f40e6ede0" providerId="ADAL" clId="{200F4FCF-9504-40C1-AE80-B815686A55B2}" dt="2019-05-28T07:06:13.011" v="30" actId="1076"/>
          <ac:picMkLst>
            <pc:docMk/>
            <pc:sldMk cId="4251123589" sldId="693"/>
            <ac:picMk id="41" creationId="{7A402D69-E47C-43BC-939D-36D584EFEAE5}"/>
          </ac:picMkLst>
        </pc:picChg>
      </pc:sldChg>
    </pc:docChg>
  </pc:docChgLst>
  <pc:docChgLst>
    <pc:chgData name="Peter Jankovsky" userId="0f9f04bc-ec60-4337-914d-b29f40e6ede0" providerId="ADAL" clId="{BA93907F-7545-40BB-92EA-E0579D123C78}"/>
    <pc:docChg chg="custSel addSld delSld modSld">
      <pc:chgData name="Peter Jankovsky" userId="0f9f04bc-ec60-4337-914d-b29f40e6ede0" providerId="ADAL" clId="{BA93907F-7545-40BB-92EA-E0579D123C78}" dt="2019-06-25T08:43:23.951" v="107" actId="14100"/>
      <pc:docMkLst>
        <pc:docMk/>
      </pc:docMkLst>
      <pc:sldChg chg="modSp">
        <pc:chgData name="Peter Jankovsky" userId="0f9f04bc-ec60-4337-914d-b29f40e6ede0" providerId="ADAL" clId="{BA93907F-7545-40BB-92EA-E0579D123C78}" dt="2019-06-25T08:41:13.861" v="55" actId="20577"/>
        <pc:sldMkLst>
          <pc:docMk/>
          <pc:sldMk cId="241762744" sldId="272"/>
        </pc:sldMkLst>
        <pc:spChg chg="mod">
          <ac:chgData name="Peter Jankovsky" userId="0f9f04bc-ec60-4337-914d-b29f40e6ede0" providerId="ADAL" clId="{BA93907F-7545-40BB-92EA-E0579D123C78}" dt="2019-06-25T08:41:13.861" v="55" actId="20577"/>
          <ac:spMkLst>
            <pc:docMk/>
            <pc:sldMk cId="241762744" sldId="272"/>
            <ac:spMk id="2" creationId="{D0480C22-4D40-4D27-84A8-D6E53397CC25}"/>
          </ac:spMkLst>
        </pc:spChg>
      </pc:sldChg>
      <pc:sldChg chg="modSp">
        <pc:chgData name="Peter Jankovsky" userId="0f9f04bc-ec60-4337-914d-b29f40e6ede0" providerId="ADAL" clId="{BA93907F-7545-40BB-92EA-E0579D123C78}" dt="2019-06-25T08:41:47.476" v="85" actId="1076"/>
        <pc:sldMkLst>
          <pc:docMk/>
          <pc:sldMk cId="2879402467" sldId="273"/>
        </pc:sldMkLst>
        <pc:spChg chg="mod">
          <ac:chgData name="Peter Jankovsky" userId="0f9f04bc-ec60-4337-914d-b29f40e6ede0" providerId="ADAL" clId="{BA93907F-7545-40BB-92EA-E0579D123C78}" dt="2019-06-25T08:41:39.416" v="84" actId="20577"/>
          <ac:spMkLst>
            <pc:docMk/>
            <pc:sldMk cId="2879402467" sldId="273"/>
            <ac:spMk id="7" creationId="{EF56FF7B-85FF-4ADD-B533-47DEC7B3E272}"/>
          </ac:spMkLst>
        </pc:spChg>
        <pc:grpChg chg="mod">
          <ac:chgData name="Peter Jankovsky" userId="0f9f04bc-ec60-4337-914d-b29f40e6ede0" providerId="ADAL" clId="{BA93907F-7545-40BB-92EA-E0579D123C78}" dt="2019-06-25T08:41:47.476" v="85" actId="1076"/>
          <ac:grpSpMkLst>
            <pc:docMk/>
            <pc:sldMk cId="2879402467" sldId="273"/>
            <ac:grpSpMk id="40" creationId="{D51C0FE2-A556-46B6-9EA6-887B3469B461}"/>
          </ac:grpSpMkLst>
        </pc:grpChg>
      </pc:sldChg>
      <pc:sldChg chg="addSp delSp modSp add">
        <pc:chgData name="Peter Jankovsky" userId="0f9f04bc-ec60-4337-914d-b29f40e6ede0" providerId="ADAL" clId="{BA93907F-7545-40BB-92EA-E0579D123C78}" dt="2019-06-25T08:43:23.951" v="107" actId="14100"/>
        <pc:sldMkLst>
          <pc:docMk/>
          <pc:sldMk cId="1380303308" sldId="699"/>
        </pc:sldMkLst>
        <pc:spChg chg="mod">
          <ac:chgData name="Peter Jankovsky" userId="0f9f04bc-ec60-4337-914d-b29f40e6ede0" providerId="ADAL" clId="{BA93907F-7545-40BB-92EA-E0579D123C78}" dt="2019-06-25T08:43:23.951" v="107" actId="14100"/>
          <ac:spMkLst>
            <pc:docMk/>
            <pc:sldMk cId="1380303308" sldId="699"/>
            <ac:spMk id="3" creationId="{DAB90D91-FE7E-491A-B706-292BD05471B2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36" creationId="{E3678B0F-26F9-45C4-882F-E860C855D7A4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37" creationId="{2F97F155-ED96-4954-8C03-6AA9844E98BD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38" creationId="{3391F2E3-ED5E-4A97-974D-05EEE3E58378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39" creationId="{9EF739C0-AF3D-47F4-B7A3-6205B9218431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40" creationId="{CD433EB5-08A4-4490-BF50-8E4887355886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43" creationId="{423E48EC-BC42-4732-BDF6-75D30AA62386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44" creationId="{412EA6B4-43D0-497A-AC8F-121CAA55D814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45" creationId="{0FE51D12-9F23-4A30-8F5B-1E00E87F2B06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46" creationId="{A159818B-872C-41AF-B82D-4A0930888602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47" creationId="{E9B9CF14-96FA-4468-8446-DBBAEF6B10AA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49" creationId="{1DD9BDB9-5A6E-41D9-9E29-B3B5870DD3E9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50" creationId="{FA5EBE6A-1706-4A6D-BBBA-4B8C76B99B4F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52" creationId="{981F7DE7-37B7-4341-AFE3-7EF6E8B95EBA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53" creationId="{20C82E58-57DD-4567-B80C-60AA654E9285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54" creationId="{F74BB73D-FF19-4344-90DD-C903AB9133DE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55" creationId="{657A5E50-1510-45A7-940F-F4376F497BC3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58" creationId="{677E61EB-A43B-4F17-A51C-526A0C9B27FE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60" creationId="{274B7DAF-4017-4B41-82B3-6C8BDC7959D5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61" creationId="{E76FB683-E90C-4FB8-9F16-0A0D173A2CBA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62" creationId="{26FA5678-D385-46B2-8153-57C24FEB8083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63" creationId="{EA1D6592-453A-4026-998F-637D0CB88558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64" creationId="{06695CF9-5AA1-4B52-A9AE-A525F94E66DC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65" creationId="{722DB719-96C6-477E-9395-1DFE51192B2F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66" creationId="{0833D2F7-65A3-46B9-9C4F-273FAD733818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69" creationId="{C796F2A3-9181-47AE-93C0-D34AD9F827CC}"/>
          </ac:spMkLst>
        </pc:spChg>
        <pc:spChg chg="del">
          <ac:chgData name="Peter Jankovsky" userId="0f9f04bc-ec60-4337-914d-b29f40e6ede0" providerId="ADAL" clId="{BA93907F-7545-40BB-92EA-E0579D123C78}" dt="2019-06-25T08:38:12.965" v="3" actId="478"/>
          <ac:spMkLst>
            <pc:docMk/>
            <pc:sldMk cId="1380303308" sldId="699"/>
            <ac:spMk id="70" creationId="{DCC3BB79-7BEF-4F65-9CAD-1A63199ECAEA}"/>
          </ac:spMkLst>
        </pc:spChg>
        <pc:picChg chg="add del mod">
          <ac:chgData name="Peter Jankovsky" userId="0f9f04bc-ec60-4337-914d-b29f40e6ede0" providerId="ADAL" clId="{BA93907F-7545-40BB-92EA-E0579D123C78}" dt="2019-06-25T08:38:59.680" v="10" actId="478"/>
          <ac:picMkLst>
            <pc:docMk/>
            <pc:sldMk cId="1380303308" sldId="699"/>
            <ac:picMk id="2" creationId="{689F8937-115F-49C9-8DF0-F5655DA3E7E0}"/>
          </ac:picMkLst>
        </pc:picChg>
        <pc:picChg chg="add mod ord">
          <ac:chgData name="Peter Jankovsky" userId="0f9f04bc-ec60-4337-914d-b29f40e6ede0" providerId="ADAL" clId="{BA93907F-7545-40BB-92EA-E0579D123C78}" dt="2019-06-25T08:39:53.350" v="18" actId="14100"/>
          <ac:picMkLst>
            <pc:docMk/>
            <pc:sldMk cId="1380303308" sldId="699"/>
            <ac:picMk id="4" creationId="{F50B2913-B846-4A2D-950C-BB285BF207C7}"/>
          </ac:picMkLst>
        </pc:picChg>
        <pc:cxnChg chg="del">
          <ac:chgData name="Peter Jankovsky" userId="0f9f04bc-ec60-4337-914d-b29f40e6ede0" providerId="ADAL" clId="{BA93907F-7545-40BB-92EA-E0579D123C78}" dt="2019-06-25T08:38:12.965" v="3" actId="478"/>
          <ac:cxnSpMkLst>
            <pc:docMk/>
            <pc:sldMk cId="1380303308" sldId="699"/>
            <ac:cxnSpMk id="48" creationId="{D7804F43-299C-437F-8E79-C328E0AD50CB}"/>
          </ac:cxnSpMkLst>
        </pc:cxnChg>
        <pc:cxnChg chg="del">
          <ac:chgData name="Peter Jankovsky" userId="0f9f04bc-ec60-4337-914d-b29f40e6ede0" providerId="ADAL" clId="{BA93907F-7545-40BB-92EA-E0579D123C78}" dt="2019-06-25T08:38:12.965" v="3" actId="478"/>
          <ac:cxnSpMkLst>
            <pc:docMk/>
            <pc:sldMk cId="1380303308" sldId="699"/>
            <ac:cxnSpMk id="51" creationId="{18B5233F-07BD-4474-B322-F48CD0554712}"/>
          </ac:cxnSpMkLst>
        </pc:cxnChg>
        <pc:cxnChg chg="del mod">
          <ac:chgData name="Peter Jankovsky" userId="0f9f04bc-ec60-4337-914d-b29f40e6ede0" providerId="ADAL" clId="{BA93907F-7545-40BB-92EA-E0579D123C78}" dt="2019-06-25T08:38:12.965" v="3" actId="478"/>
          <ac:cxnSpMkLst>
            <pc:docMk/>
            <pc:sldMk cId="1380303308" sldId="699"/>
            <ac:cxnSpMk id="56" creationId="{0AF82365-4E36-4220-AADA-36CCAB07C443}"/>
          </ac:cxnSpMkLst>
        </pc:cxnChg>
        <pc:cxnChg chg="del">
          <ac:chgData name="Peter Jankovsky" userId="0f9f04bc-ec60-4337-914d-b29f40e6ede0" providerId="ADAL" clId="{BA93907F-7545-40BB-92EA-E0579D123C78}" dt="2019-06-25T08:38:12.965" v="3" actId="478"/>
          <ac:cxnSpMkLst>
            <pc:docMk/>
            <pc:sldMk cId="1380303308" sldId="699"/>
            <ac:cxnSpMk id="57" creationId="{2B939F63-2BF9-4D03-B8E9-518A753180D9}"/>
          </ac:cxnSpMkLst>
        </pc:cxnChg>
      </pc:sldChg>
    </pc:docChg>
  </pc:docChgLst>
  <pc:docChgLst>
    <pc:chgData name="Peter Jankovský" userId="0f9f04bc-ec60-4337-914d-b29f40e6ede0" providerId="ADAL" clId="{E9FDDE36-7A44-41F2-8BD8-FD5B25BA2BCB}"/>
    <pc:docChg chg="undo custSel addSld modSld">
      <pc:chgData name="Peter Jankovský" userId="0f9f04bc-ec60-4337-914d-b29f40e6ede0" providerId="ADAL" clId="{E9FDDE36-7A44-41F2-8BD8-FD5B25BA2BCB}" dt="2020-03-18T08:26:33.506" v="605" actId="6549"/>
      <pc:docMkLst>
        <pc:docMk/>
      </pc:docMkLst>
      <pc:sldChg chg="modSp">
        <pc:chgData name="Peter Jankovský" userId="0f9f04bc-ec60-4337-914d-b29f40e6ede0" providerId="ADAL" clId="{E9FDDE36-7A44-41F2-8BD8-FD5B25BA2BCB}" dt="2020-03-16T23:08:59.599" v="224" actId="20577"/>
        <pc:sldMkLst>
          <pc:docMk/>
          <pc:sldMk cId="1880138099" sldId="259"/>
        </pc:sldMkLst>
        <pc:graphicFrameChg chg="mod">
          <ac:chgData name="Peter Jankovský" userId="0f9f04bc-ec60-4337-914d-b29f40e6ede0" providerId="ADAL" clId="{E9FDDE36-7A44-41F2-8BD8-FD5B25BA2BCB}" dt="2020-03-16T23:08:59.599" v="224" actId="20577"/>
          <ac:graphicFrameMkLst>
            <pc:docMk/>
            <pc:sldMk cId="1880138099" sldId="259"/>
            <ac:graphicFrameMk id="4" creationId="{00000000-0000-0000-0000-000000000000}"/>
          </ac:graphicFrameMkLst>
        </pc:graphicFrameChg>
      </pc:sldChg>
      <pc:sldChg chg="addSp delSp modSp">
        <pc:chgData name="Peter Jankovský" userId="0f9f04bc-ec60-4337-914d-b29f40e6ede0" providerId="ADAL" clId="{E9FDDE36-7A44-41F2-8BD8-FD5B25BA2BCB}" dt="2020-03-17T14:05:46.874" v="351" actId="14100"/>
        <pc:sldMkLst>
          <pc:docMk/>
          <pc:sldMk cId="4120783338" sldId="263"/>
        </pc:sldMkLst>
        <pc:spChg chg="mod">
          <ac:chgData name="Peter Jankovský" userId="0f9f04bc-ec60-4337-914d-b29f40e6ede0" providerId="ADAL" clId="{E9FDDE36-7A44-41F2-8BD8-FD5B25BA2BCB}" dt="2020-03-17T13:04:13.733" v="253" actId="790"/>
          <ac:spMkLst>
            <pc:docMk/>
            <pc:sldMk cId="4120783338" sldId="263"/>
            <ac:spMk id="3" creationId="{F921E2E8-81E4-4022-A7A4-BDAC2C192863}"/>
          </ac:spMkLst>
        </pc:spChg>
        <pc:spChg chg="mod">
          <ac:chgData name="Peter Jankovský" userId="0f9f04bc-ec60-4337-914d-b29f40e6ede0" providerId="ADAL" clId="{E9FDDE36-7A44-41F2-8BD8-FD5B25BA2BCB}" dt="2020-03-17T13:04:23.069" v="257" actId="6549"/>
          <ac:spMkLst>
            <pc:docMk/>
            <pc:sldMk cId="4120783338" sldId="263"/>
            <ac:spMk id="8" creationId="{0F45AF07-1A2A-49D9-85ED-3123519D3C09}"/>
          </ac:spMkLst>
        </pc:spChg>
        <pc:picChg chg="mod">
          <ac:chgData name="Peter Jankovský" userId="0f9f04bc-ec60-4337-914d-b29f40e6ede0" providerId="ADAL" clId="{E9FDDE36-7A44-41F2-8BD8-FD5B25BA2BCB}" dt="2020-03-17T14:00:39.288" v="334" actId="14100"/>
          <ac:picMkLst>
            <pc:docMk/>
            <pc:sldMk cId="4120783338" sldId="263"/>
            <ac:picMk id="2" creationId="{8E9CC135-059A-4F23-9E54-8DF8B0B02A2C}"/>
          </ac:picMkLst>
        </pc:picChg>
        <pc:picChg chg="mod">
          <ac:chgData name="Peter Jankovský" userId="0f9f04bc-ec60-4337-914d-b29f40e6ede0" providerId="ADAL" clId="{E9FDDE36-7A44-41F2-8BD8-FD5B25BA2BCB}" dt="2020-03-17T14:03:12.271" v="343" actId="1076"/>
          <ac:picMkLst>
            <pc:docMk/>
            <pc:sldMk cId="4120783338" sldId="263"/>
            <ac:picMk id="4" creationId="{94143C65-4249-4FE2-801B-02359B067C4E}"/>
          </ac:picMkLst>
        </pc:picChg>
        <pc:picChg chg="add mod">
          <ac:chgData name="Peter Jankovský" userId="0f9f04bc-ec60-4337-914d-b29f40e6ede0" providerId="ADAL" clId="{E9FDDE36-7A44-41F2-8BD8-FD5B25BA2BCB}" dt="2020-03-17T13:54:51.659" v="304" actId="1076"/>
          <ac:picMkLst>
            <pc:docMk/>
            <pc:sldMk cId="4120783338" sldId="263"/>
            <ac:picMk id="13" creationId="{254DA1FD-62B1-4F0B-9135-C0B9054E5929}"/>
          </ac:picMkLst>
        </pc:picChg>
        <pc:picChg chg="mod">
          <ac:chgData name="Peter Jankovský" userId="0f9f04bc-ec60-4337-914d-b29f40e6ede0" providerId="ADAL" clId="{E9FDDE36-7A44-41F2-8BD8-FD5B25BA2BCB}" dt="2020-03-17T14:03:10.123" v="342" actId="1076"/>
          <ac:picMkLst>
            <pc:docMk/>
            <pc:sldMk cId="4120783338" sldId="263"/>
            <ac:picMk id="15" creationId="{249BF5AF-9943-4EB3-8AB1-3F18AB995826}"/>
          </ac:picMkLst>
        </pc:picChg>
        <pc:picChg chg="mod">
          <ac:chgData name="Peter Jankovský" userId="0f9f04bc-ec60-4337-914d-b29f40e6ede0" providerId="ADAL" clId="{E9FDDE36-7A44-41F2-8BD8-FD5B25BA2BCB}" dt="2020-03-17T14:05:46.874" v="351" actId="14100"/>
          <ac:picMkLst>
            <pc:docMk/>
            <pc:sldMk cId="4120783338" sldId="263"/>
            <ac:picMk id="16" creationId="{0595020B-403A-4C0F-A5E0-5E3A5850BE7A}"/>
          </ac:picMkLst>
        </pc:picChg>
        <pc:picChg chg="add mod">
          <ac:chgData name="Peter Jankovský" userId="0f9f04bc-ec60-4337-914d-b29f40e6ede0" providerId="ADAL" clId="{E9FDDE36-7A44-41F2-8BD8-FD5B25BA2BCB}" dt="2020-03-17T13:55:14.176" v="315" actId="14100"/>
          <ac:picMkLst>
            <pc:docMk/>
            <pc:sldMk cId="4120783338" sldId="263"/>
            <ac:picMk id="19" creationId="{30B9894B-8423-49D1-88C9-CB527140EF23}"/>
          </ac:picMkLst>
        </pc:picChg>
        <pc:picChg chg="mod">
          <ac:chgData name="Peter Jankovský" userId="0f9f04bc-ec60-4337-914d-b29f40e6ede0" providerId="ADAL" clId="{E9FDDE36-7A44-41F2-8BD8-FD5B25BA2BCB}" dt="2020-03-13T14:07:03.703" v="8" actId="1076"/>
          <ac:picMkLst>
            <pc:docMk/>
            <pc:sldMk cId="4120783338" sldId="263"/>
            <ac:picMk id="20" creationId="{B816ACE9-98B4-49A1-B210-56A82F246BE2}"/>
          </ac:picMkLst>
        </pc:picChg>
        <pc:picChg chg="add mod">
          <ac:chgData name="Peter Jankovský" userId="0f9f04bc-ec60-4337-914d-b29f40e6ede0" providerId="ADAL" clId="{E9FDDE36-7A44-41F2-8BD8-FD5B25BA2BCB}" dt="2020-03-17T13:55:31.054" v="318" actId="1076"/>
          <ac:picMkLst>
            <pc:docMk/>
            <pc:sldMk cId="4120783338" sldId="263"/>
            <ac:picMk id="23" creationId="{CFB6E9F1-7EEA-4F28-A5F3-C4D3F5B53EBC}"/>
          </ac:picMkLst>
        </pc:picChg>
        <pc:picChg chg="add mod">
          <ac:chgData name="Peter Jankovský" userId="0f9f04bc-ec60-4337-914d-b29f40e6ede0" providerId="ADAL" clId="{E9FDDE36-7A44-41F2-8BD8-FD5B25BA2BCB}" dt="2020-03-17T14:05:42.232" v="350" actId="1076"/>
          <ac:picMkLst>
            <pc:docMk/>
            <pc:sldMk cId="4120783338" sldId="263"/>
            <ac:picMk id="25" creationId="{95B01CC0-A80B-4885-8787-0F4DB7AB0816}"/>
          </ac:picMkLst>
        </pc:picChg>
        <pc:picChg chg="add mod">
          <ac:chgData name="Peter Jankovský" userId="0f9f04bc-ec60-4337-914d-b29f40e6ede0" providerId="ADAL" clId="{E9FDDE36-7A44-41F2-8BD8-FD5B25BA2BCB}" dt="2020-03-17T13:54:57.354" v="307" actId="1076"/>
          <ac:picMkLst>
            <pc:docMk/>
            <pc:sldMk cId="4120783338" sldId="263"/>
            <ac:picMk id="27" creationId="{E61B493E-A95F-4A50-AE9C-FB108D0D0C3A}"/>
          </ac:picMkLst>
        </pc:picChg>
        <pc:picChg chg="add mod">
          <ac:chgData name="Peter Jankovský" userId="0f9f04bc-ec60-4337-914d-b29f40e6ede0" providerId="ADAL" clId="{E9FDDE36-7A44-41F2-8BD8-FD5B25BA2BCB}" dt="2020-03-17T13:55:58.096" v="325" actId="1076"/>
          <ac:picMkLst>
            <pc:docMk/>
            <pc:sldMk cId="4120783338" sldId="263"/>
            <ac:picMk id="29" creationId="{877965AC-E992-4D47-82E8-CB74374FF784}"/>
          </ac:picMkLst>
        </pc:picChg>
        <pc:picChg chg="add mod">
          <ac:chgData name="Peter Jankovský" userId="0f9f04bc-ec60-4337-914d-b29f40e6ede0" providerId="ADAL" clId="{E9FDDE36-7A44-41F2-8BD8-FD5B25BA2BCB}" dt="2020-03-17T13:54:45.074" v="302" actId="1076"/>
          <ac:picMkLst>
            <pc:docMk/>
            <pc:sldMk cId="4120783338" sldId="263"/>
            <ac:picMk id="31" creationId="{12B0C78D-7B96-446D-971B-0FFC7A40B878}"/>
          </ac:picMkLst>
        </pc:picChg>
        <pc:picChg chg="add del mod">
          <ac:chgData name="Peter Jankovský" userId="0f9f04bc-ec60-4337-914d-b29f40e6ede0" providerId="ADAL" clId="{E9FDDE36-7A44-41F2-8BD8-FD5B25BA2BCB}" dt="2020-03-17T08:52:09.374" v="247" actId="478"/>
          <ac:picMkLst>
            <pc:docMk/>
            <pc:sldMk cId="4120783338" sldId="263"/>
            <ac:picMk id="33" creationId="{F0216A85-FE11-4625-AF76-A939F4CFC6A2}"/>
          </ac:picMkLst>
        </pc:picChg>
        <pc:picChg chg="add mod">
          <ac:chgData name="Peter Jankovský" userId="0f9f04bc-ec60-4337-914d-b29f40e6ede0" providerId="ADAL" clId="{E9FDDE36-7A44-41F2-8BD8-FD5B25BA2BCB}" dt="2020-03-17T14:03:26.443" v="346" actId="1076"/>
          <ac:picMkLst>
            <pc:docMk/>
            <pc:sldMk cId="4120783338" sldId="263"/>
            <ac:picMk id="35" creationId="{4A004A97-C6F8-4402-8A7B-13402CDE7273}"/>
          </ac:picMkLst>
        </pc:picChg>
        <pc:picChg chg="add mod">
          <ac:chgData name="Peter Jankovský" userId="0f9f04bc-ec60-4337-914d-b29f40e6ede0" providerId="ADAL" clId="{E9FDDE36-7A44-41F2-8BD8-FD5B25BA2BCB}" dt="2020-03-17T14:03:34.869" v="348" actId="1076"/>
          <ac:picMkLst>
            <pc:docMk/>
            <pc:sldMk cId="4120783338" sldId="263"/>
            <ac:picMk id="37" creationId="{81338797-39E8-4AE8-8FC8-DCB2CE99897C}"/>
          </ac:picMkLst>
        </pc:picChg>
        <pc:picChg chg="mod">
          <ac:chgData name="Peter Jankovský" userId="0f9f04bc-ec60-4337-914d-b29f40e6ede0" providerId="ADAL" clId="{E9FDDE36-7A44-41F2-8BD8-FD5B25BA2BCB}" dt="2020-03-17T14:00:33.097" v="333" actId="1076"/>
          <ac:picMkLst>
            <pc:docMk/>
            <pc:sldMk cId="4120783338" sldId="263"/>
            <ac:picMk id="48" creationId="{238EC86D-AA98-49F4-AE31-4DD11781D508}"/>
          </ac:picMkLst>
        </pc:picChg>
        <pc:picChg chg="mod ord">
          <ac:chgData name="Peter Jankovský" userId="0f9f04bc-ec60-4337-914d-b29f40e6ede0" providerId="ADAL" clId="{E9FDDE36-7A44-41F2-8BD8-FD5B25BA2BCB}" dt="2020-03-13T14:06:54.018" v="6" actId="166"/>
          <ac:picMkLst>
            <pc:docMk/>
            <pc:sldMk cId="4120783338" sldId="263"/>
            <ac:picMk id="49" creationId="{D90E0985-FCE2-48F5-ACD3-61B14EF15546}"/>
          </ac:picMkLst>
        </pc:picChg>
        <pc:picChg chg="ord">
          <ac:chgData name="Peter Jankovský" userId="0f9f04bc-ec60-4337-914d-b29f40e6ede0" providerId="ADAL" clId="{E9FDDE36-7A44-41F2-8BD8-FD5B25BA2BCB}" dt="2020-03-13T14:07:08.358" v="9" actId="166"/>
          <ac:picMkLst>
            <pc:docMk/>
            <pc:sldMk cId="4120783338" sldId="263"/>
            <ac:picMk id="50" creationId="{4866919D-3B01-47EB-9F1D-B419E93C9F6F}"/>
          </ac:picMkLst>
        </pc:picChg>
        <pc:picChg chg="ord">
          <ac:chgData name="Peter Jankovský" userId="0f9f04bc-ec60-4337-914d-b29f40e6ede0" providerId="ADAL" clId="{E9FDDE36-7A44-41F2-8BD8-FD5B25BA2BCB}" dt="2020-03-13T14:06:58.377" v="7" actId="166"/>
          <ac:picMkLst>
            <pc:docMk/>
            <pc:sldMk cId="4120783338" sldId="263"/>
            <ac:picMk id="51" creationId="{95CCA16E-E18C-47DC-9688-5CC1A1234F57}"/>
          </ac:picMkLst>
        </pc:picChg>
        <pc:picChg chg="mod">
          <ac:chgData name="Peter Jankovský" userId="0f9f04bc-ec60-4337-914d-b29f40e6ede0" providerId="ADAL" clId="{E9FDDE36-7A44-41F2-8BD8-FD5B25BA2BCB}" dt="2020-03-17T14:00:31.492" v="332" actId="1076"/>
          <ac:picMkLst>
            <pc:docMk/>
            <pc:sldMk cId="4120783338" sldId="263"/>
            <ac:picMk id="57" creationId="{234E0BA8-AB32-4D9A-A71F-7201B392849E}"/>
          </ac:picMkLst>
        </pc:picChg>
        <pc:picChg chg="mod">
          <ac:chgData name="Peter Jankovský" userId="0f9f04bc-ec60-4337-914d-b29f40e6ede0" providerId="ADAL" clId="{E9FDDE36-7A44-41F2-8BD8-FD5B25BA2BCB}" dt="2020-03-17T13:54:39.314" v="299" actId="1076"/>
          <ac:picMkLst>
            <pc:docMk/>
            <pc:sldMk cId="4120783338" sldId="263"/>
            <ac:picMk id="59" creationId="{561508E1-2397-4671-A70B-BA3F1C446C4A}"/>
          </ac:picMkLst>
        </pc:picChg>
        <pc:picChg chg="mod">
          <ac:chgData name="Peter Jankovský" userId="0f9f04bc-ec60-4337-914d-b29f40e6ede0" providerId="ADAL" clId="{E9FDDE36-7A44-41F2-8BD8-FD5B25BA2BCB}" dt="2020-03-17T14:00:55.029" v="335" actId="1076"/>
          <ac:picMkLst>
            <pc:docMk/>
            <pc:sldMk cId="4120783338" sldId="263"/>
            <ac:picMk id="62" creationId="{7E34EDAB-02FE-4A74-91B4-EB0936B85695}"/>
          </ac:picMkLst>
        </pc:picChg>
        <pc:picChg chg="mod ord">
          <ac:chgData name="Peter Jankovský" userId="0f9f04bc-ec60-4337-914d-b29f40e6ede0" providerId="ADAL" clId="{E9FDDE36-7A44-41F2-8BD8-FD5B25BA2BCB}" dt="2020-03-17T13:55:10.197" v="314" actId="1076"/>
          <ac:picMkLst>
            <pc:docMk/>
            <pc:sldMk cId="4120783338" sldId="263"/>
            <ac:picMk id="66" creationId="{949F6F06-95B1-45F8-B275-132F34AB4FA2}"/>
          </ac:picMkLst>
        </pc:picChg>
        <pc:picChg chg="mod">
          <ac:chgData name="Peter Jankovský" userId="0f9f04bc-ec60-4337-914d-b29f40e6ede0" providerId="ADAL" clId="{E9FDDE36-7A44-41F2-8BD8-FD5B25BA2BCB}" dt="2020-03-17T13:54:41.246" v="300" actId="1076"/>
          <ac:picMkLst>
            <pc:docMk/>
            <pc:sldMk cId="4120783338" sldId="263"/>
            <ac:picMk id="68" creationId="{B9AE6535-79BD-4813-9346-BB59008E2EE7}"/>
          </ac:picMkLst>
        </pc:picChg>
        <pc:picChg chg="mod">
          <ac:chgData name="Peter Jankovský" userId="0f9f04bc-ec60-4337-914d-b29f40e6ede0" providerId="ADAL" clId="{E9FDDE36-7A44-41F2-8BD8-FD5B25BA2BCB}" dt="2020-03-17T13:55:45.197" v="322" actId="1076"/>
          <ac:picMkLst>
            <pc:docMk/>
            <pc:sldMk cId="4120783338" sldId="263"/>
            <ac:picMk id="69" creationId="{51FDAE70-1121-42AD-96B9-100F48977905}"/>
          </ac:picMkLst>
        </pc:picChg>
        <pc:picChg chg="mod">
          <ac:chgData name="Peter Jankovský" userId="0f9f04bc-ec60-4337-914d-b29f40e6ede0" providerId="ADAL" clId="{E9FDDE36-7A44-41F2-8BD8-FD5B25BA2BCB}" dt="2020-03-17T14:03:33.072" v="347" actId="1076"/>
          <ac:picMkLst>
            <pc:docMk/>
            <pc:sldMk cId="4120783338" sldId="263"/>
            <ac:picMk id="70" creationId="{AF9FDF2A-D656-40CB-9055-1A08AFB6ED29}"/>
          </ac:picMkLst>
        </pc:picChg>
        <pc:picChg chg="mod">
          <ac:chgData name="Peter Jankovský" userId="0f9f04bc-ec60-4337-914d-b29f40e6ede0" providerId="ADAL" clId="{E9FDDE36-7A44-41F2-8BD8-FD5B25BA2BCB}" dt="2020-03-17T14:03:14.990" v="344" actId="1076"/>
          <ac:picMkLst>
            <pc:docMk/>
            <pc:sldMk cId="4120783338" sldId="263"/>
            <ac:picMk id="71" creationId="{22C2E14A-C95F-4282-B70C-0A7EE41B0029}"/>
          </ac:picMkLst>
        </pc:picChg>
        <pc:picChg chg="mod">
          <ac:chgData name="Peter Jankovský" userId="0f9f04bc-ec60-4337-914d-b29f40e6ede0" providerId="ADAL" clId="{E9FDDE36-7A44-41F2-8BD8-FD5B25BA2BCB}" dt="2020-03-17T13:59:48.589" v="331" actId="1076"/>
          <ac:picMkLst>
            <pc:docMk/>
            <pc:sldMk cId="4120783338" sldId="263"/>
            <ac:picMk id="72" creationId="{3CD44EFD-E2CA-4899-A706-AAA9C9BAF210}"/>
          </ac:picMkLst>
        </pc:picChg>
        <pc:picChg chg="mod">
          <ac:chgData name="Peter Jankovský" userId="0f9f04bc-ec60-4337-914d-b29f40e6ede0" providerId="ADAL" clId="{E9FDDE36-7A44-41F2-8BD8-FD5B25BA2BCB}" dt="2020-03-17T14:03:07.030" v="341" actId="1076"/>
          <ac:picMkLst>
            <pc:docMk/>
            <pc:sldMk cId="4120783338" sldId="263"/>
            <ac:picMk id="73" creationId="{ACDDF92C-8B84-41E5-820A-899B9B8467C6}"/>
          </ac:picMkLst>
        </pc:picChg>
        <pc:picChg chg="mod">
          <ac:chgData name="Peter Jankovský" userId="0f9f04bc-ec60-4337-914d-b29f40e6ede0" providerId="ADAL" clId="{E9FDDE36-7A44-41F2-8BD8-FD5B25BA2BCB}" dt="2020-03-17T14:05:40.008" v="349" actId="1076"/>
          <ac:picMkLst>
            <pc:docMk/>
            <pc:sldMk cId="4120783338" sldId="263"/>
            <ac:picMk id="77" creationId="{F547848E-B8CF-442B-A33B-37BBC0013AE3}"/>
          </ac:picMkLst>
        </pc:picChg>
        <pc:picChg chg="mod">
          <ac:chgData name="Peter Jankovský" userId="0f9f04bc-ec60-4337-914d-b29f40e6ede0" providerId="ADAL" clId="{E9FDDE36-7A44-41F2-8BD8-FD5B25BA2BCB}" dt="2020-03-17T14:03:19.632" v="345" actId="1076"/>
          <ac:picMkLst>
            <pc:docMk/>
            <pc:sldMk cId="4120783338" sldId="263"/>
            <ac:picMk id="78" creationId="{92B32739-DBBA-4D6E-B746-20840A52A0FC}"/>
          </ac:picMkLst>
        </pc:picChg>
        <pc:picChg chg="mod">
          <ac:chgData name="Peter Jankovský" userId="0f9f04bc-ec60-4337-914d-b29f40e6ede0" providerId="ADAL" clId="{E9FDDE36-7A44-41F2-8BD8-FD5B25BA2BCB}" dt="2020-03-17T14:00:58.699" v="337" actId="1076"/>
          <ac:picMkLst>
            <pc:docMk/>
            <pc:sldMk cId="4120783338" sldId="263"/>
            <ac:picMk id="1026" creationId="{BD671A20-B234-4150-A875-9CAB88FC7366}"/>
          </ac:picMkLst>
        </pc:picChg>
      </pc:sldChg>
      <pc:sldChg chg="addSp delSp modSp modAnim">
        <pc:chgData name="Peter Jankovský" userId="0f9f04bc-ec60-4337-914d-b29f40e6ede0" providerId="ADAL" clId="{E9FDDE36-7A44-41F2-8BD8-FD5B25BA2BCB}" dt="2020-03-17T14:12:01.270" v="512" actId="14100"/>
        <pc:sldMkLst>
          <pc:docMk/>
          <pc:sldMk cId="2196778977" sldId="264"/>
        </pc:sldMkLst>
        <pc:spChg chg="ord">
          <ac:chgData name="Peter Jankovský" userId="0f9f04bc-ec60-4337-914d-b29f40e6ede0" providerId="ADAL" clId="{E9FDDE36-7A44-41F2-8BD8-FD5B25BA2BCB}" dt="2020-03-17T14:10:50.456" v="476" actId="166"/>
          <ac:spMkLst>
            <pc:docMk/>
            <pc:sldMk cId="2196778977" sldId="264"/>
            <ac:spMk id="5" creationId="{D60DDBFE-C6B3-485B-8D94-4F4027569E04}"/>
          </ac:spMkLst>
        </pc:spChg>
        <pc:picChg chg="mod">
          <ac:chgData name="Peter Jankovský" userId="0f9f04bc-ec60-4337-914d-b29f40e6ede0" providerId="ADAL" clId="{E9FDDE36-7A44-41F2-8BD8-FD5B25BA2BCB}" dt="2020-03-17T14:10:53.362" v="477" actId="1076"/>
          <ac:picMkLst>
            <pc:docMk/>
            <pc:sldMk cId="2196778977" sldId="264"/>
            <ac:picMk id="2" creationId="{4AD0F5D4-0D2F-4B13-8E79-263BEBA8720E}"/>
          </ac:picMkLst>
        </pc:picChg>
        <pc:picChg chg="mod">
          <ac:chgData name="Peter Jankovský" userId="0f9f04bc-ec60-4337-914d-b29f40e6ede0" providerId="ADAL" clId="{E9FDDE36-7A44-41F2-8BD8-FD5B25BA2BCB}" dt="2020-03-17T14:09:03.087" v="422" actId="1037"/>
          <ac:picMkLst>
            <pc:docMk/>
            <pc:sldMk cId="2196778977" sldId="264"/>
            <ac:picMk id="4" creationId="{A290C2C3-4964-449D-A168-50B322232292}"/>
          </ac:picMkLst>
        </pc:picChg>
        <pc:picChg chg="mod">
          <ac:chgData name="Peter Jankovský" userId="0f9f04bc-ec60-4337-914d-b29f40e6ede0" providerId="ADAL" clId="{E9FDDE36-7A44-41F2-8BD8-FD5B25BA2BCB}" dt="2020-03-17T14:10:08.501" v="427" actId="14100"/>
          <ac:picMkLst>
            <pc:docMk/>
            <pc:sldMk cId="2196778977" sldId="264"/>
            <ac:picMk id="12" creationId="{FC108C2D-C473-4EF5-A446-ABD0512612C3}"/>
          </ac:picMkLst>
        </pc:picChg>
        <pc:picChg chg="mod">
          <ac:chgData name="Peter Jankovský" userId="0f9f04bc-ec60-4337-914d-b29f40e6ede0" providerId="ADAL" clId="{E9FDDE36-7A44-41F2-8BD8-FD5B25BA2BCB}" dt="2020-03-17T14:10:16.373" v="431" actId="1076"/>
          <ac:picMkLst>
            <pc:docMk/>
            <pc:sldMk cId="2196778977" sldId="264"/>
            <ac:picMk id="14" creationId="{49B8399E-5C6E-4D2C-B2E9-96074D9F1CF6}"/>
          </ac:picMkLst>
        </pc:picChg>
        <pc:picChg chg="mod">
          <ac:chgData name="Peter Jankovský" userId="0f9f04bc-ec60-4337-914d-b29f40e6ede0" providerId="ADAL" clId="{E9FDDE36-7A44-41F2-8BD8-FD5B25BA2BCB}" dt="2020-03-17T14:11:06.259" v="485" actId="1036"/>
          <ac:picMkLst>
            <pc:docMk/>
            <pc:sldMk cId="2196778977" sldId="264"/>
            <ac:picMk id="15" creationId="{163FE231-7ED9-4943-83B8-FE8EE6DBBEAC}"/>
          </ac:picMkLst>
        </pc:picChg>
        <pc:picChg chg="mod">
          <ac:chgData name="Peter Jankovský" userId="0f9f04bc-ec60-4337-914d-b29f40e6ede0" providerId="ADAL" clId="{E9FDDE36-7A44-41F2-8BD8-FD5B25BA2BCB}" dt="2020-03-17T14:11:01.419" v="479" actId="1076"/>
          <ac:picMkLst>
            <pc:docMk/>
            <pc:sldMk cId="2196778977" sldId="264"/>
            <ac:picMk id="16" creationId="{1F8021C2-7722-45AC-AEBF-D816B6B2AFE4}"/>
          </ac:picMkLst>
        </pc:picChg>
        <pc:picChg chg="mod">
          <ac:chgData name="Peter Jankovský" userId="0f9f04bc-ec60-4337-914d-b29f40e6ede0" providerId="ADAL" clId="{E9FDDE36-7A44-41F2-8BD8-FD5B25BA2BCB}" dt="2020-03-17T14:11:08.403" v="492" actId="1036"/>
          <ac:picMkLst>
            <pc:docMk/>
            <pc:sldMk cId="2196778977" sldId="264"/>
            <ac:picMk id="17" creationId="{F853CEA5-A831-4D0A-A0D2-8102ECE15931}"/>
          </ac:picMkLst>
        </pc:picChg>
        <pc:picChg chg="mod">
          <ac:chgData name="Peter Jankovský" userId="0f9f04bc-ec60-4337-914d-b29f40e6ede0" providerId="ADAL" clId="{E9FDDE36-7A44-41F2-8BD8-FD5B25BA2BCB}" dt="2020-03-17T14:10:47.802" v="475" actId="1076"/>
          <ac:picMkLst>
            <pc:docMk/>
            <pc:sldMk cId="2196778977" sldId="264"/>
            <ac:picMk id="18" creationId="{8BE10DB1-D9E0-4E7C-B0C9-F6B2EF9E5A22}"/>
          </ac:picMkLst>
        </pc:picChg>
        <pc:picChg chg="mod">
          <ac:chgData name="Peter Jankovský" userId="0f9f04bc-ec60-4337-914d-b29f40e6ede0" providerId="ADAL" clId="{E9FDDE36-7A44-41F2-8BD8-FD5B25BA2BCB}" dt="2020-03-17T14:12:01.270" v="512" actId="14100"/>
          <ac:picMkLst>
            <pc:docMk/>
            <pc:sldMk cId="2196778977" sldId="264"/>
            <ac:picMk id="19" creationId="{66B6AA34-BC81-4C47-9099-951AEF8E426F}"/>
          </ac:picMkLst>
        </pc:picChg>
        <pc:picChg chg="mod">
          <ac:chgData name="Peter Jankovský" userId="0f9f04bc-ec60-4337-914d-b29f40e6ede0" providerId="ADAL" clId="{E9FDDE36-7A44-41F2-8BD8-FD5B25BA2BCB}" dt="2020-03-17T14:10:55.674" v="478" actId="1076"/>
          <ac:picMkLst>
            <pc:docMk/>
            <pc:sldMk cId="2196778977" sldId="264"/>
            <ac:picMk id="20" creationId="{23F74A18-CBEA-4784-8EB0-D70294701932}"/>
          </ac:picMkLst>
        </pc:picChg>
        <pc:picChg chg="mod">
          <ac:chgData name="Peter Jankovský" userId="0f9f04bc-ec60-4337-914d-b29f40e6ede0" providerId="ADAL" clId="{E9FDDE36-7A44-41F2-8BD8-FD5B25BA2BCB}" dt="2020-03-17T14:11:40.907" v="502" actId="1076"/>
          <ac:picMkLst>
            <pc:docMk/>
            <pc:sldMk cId="2196778977" sldId="264"/>
            <ac:picMk id="22" creationId="{6D5C3D1C-C740-409F-94BA-D4D783BC5B52}"/>
          </ac:picMkLst>
        </pc:picChg>
        <pc:picChg chg="mod">
          <ac:chgData name="Peter Jankovský" userId="0f9f04bc-ec60-4337-914d-b29f40e6ede0" providerId="ADAL" clId="{E9FDDE36-7A44-41F2-8BD8-FD5B25BA2BCB}" dt="2020-03-17T14:11:43.698" v="503" actId="1076"/>
          <ac:picMkLst>
            <pc:docMk/>
            <pc:sldMk cId="2196778977" sldId="264"/>
            <ac:picMk id="23" creationId="{E425F33C-416F-41CC-8F64-EC5BA9DE46FF}"/>
          </ac:picMkLst>
        </pc:picChg>
        <pc:picChg chg="mod">
          <ac:chgData name="Peter Jankovský" userId="0f9f04bc-ec60-4337-914d-b29f40e6ede0" providerId="ADAL" clId="{E9FDDE36-7A44-41F2-8BD8-FD5B25BA2BCB}" dt="2020-03-17T14:10:11.639" v="429" actId="14100"/>
          <ac:picMkLst>
            <pc:docMk/>
            <pc:sldMk cId="2196778977" sldId="264"/>
            <ac:picMk id="24" creationId="{DD0518AB-352A-4665-B5CE-8D7B696C1FC1}"/>
          </ac:picMkLst>
        </pc:picChg>
        <pc:picChg chg="mod">
          <ac:chgData name="Peter Jankovský" userId="0f9f04bc-ec60-4337-914d-b29f40e6ede0" providerId="ADAL" clId="{E9FDDE36-7A44-41F2-8BD8-FD5B25BA2BCB}" dt="2020-03-17T14:11:58.843" v="511" actId="1035"/>
          <ac:picMkLst>
            <pc:docMk/>
            <pc:sldMk cId="2196778977" sldId="264"/>
            <ac:picMk id="25" creationId="{FC66DD60-0E73-47B9-A873-66B53B82AE71}"/>
          </ac:picMkLst>
        </pc:picChg>
        <pc:picChg chg="mod">
          <ac:chgData name="Peter Jankovský" userId="0f9f04bc-ec60-4337-914d-b29f40e6ede0" providerId="ADAL" clId="{E9FDDE36-7A44-41F2-8BD8-FD5B25BA2BCB}" dt="2020-03-17T14:08:59.978" v="410" actId="1036"/>
          <ac:picMkLst>
            <pc:docMk/>
            <pc:sldMk cId="2196778977" sldId="264"/>
            <ac:picMk id="36" creationId="{DA9E3837-621F-4325-8AC6-6933B4A12629}"/>
          </ac:picMkLst>
        </pc:picChg>
        <pc:picChg chg="mod">
          <ac:chgData name="Peter Jankovský" userId="0f9f04bc-ec60-4337-914d-b29f40e6ede0" providerId="ADAL" clId="{E9FDDE36-7A44-41F2-8BD8-FD5B25BA2BCB}" dt="2020-03-17T14:07:47.183" v="380" actId="1076"/>
          <ac:picMkLst>
            <pc:docMk/>
            <pc:sldMk cId="2196778977" sldId="264"/>
            <ac:picMk id="37" creationId="{7AAC1E48-E09A-4291-A3C9-564CA2220446}"/>
          </ac:picMkLst>
        </pc:picChg>
        <pc:picChg chg="mod">
          <ac:chgData name="Peter Jankovský" userId="0f9f04bc-ec60-4337-914d-b29f40e6ede0" providerId="ADAL" clId="{E9FDDE36-7A44-41F2-8BD8-FD5B25BA2BCB}" dt="2020-03-17T14:08:06.996" v="385" actId="1076"/>
          <ac:picMkLst>
            <pc:docMk/>
            <pc:sldMk cId="2196778977" sldId="264"/>
            <ac:picMk id="38" creationId="{F0597758-AE48-44A6-ADBA-F7329DBD036C}"/>
          </ac:picMkLst>
        </pc:picChg>
        <pc:picChg chg="mod ord">
          <ac:chgData name="Peter Jankovský" userId="0f9f04bc-ec60-4337-914d-b29f40e6ede0" providerId="ADAL" clId="{E9FDDE36-7A44-41F2-8BD8-FD5B25BA2BCB}" dt="2020-03-17T14:08:47.788" v="396" actId="14100"/>
          <ac:picMkLst>
            <pc:docMk/>
            <pc:sldMk cId="2196778977" sldId="264"/>
            <ac:picMk id="40" creationId="{E44CD9F0-5D1F-4D25-A64E-BDE6F5830B86}"/>
          </ac:picMkLst>
        </pc:picChg>
        <pc:picChg chg="mod">
          <ac:chgData name="Peter Jankovský" userId="0f9f04bc-ec60-4337-914d-b29f40e6ede0" providerId="ADAL" clId="{E9FDDE36-7A44-41F2-8BD8-FD5B25BA2BCB}" dt="2020-03-17T14:07:39.290" v="377" actId="1076"/>
          <ac:picMkLst>
            <pc:docMk/>
            <pc:sldMk cId="2196778977" sldId="264"/>
            <ac:picMk id="41" creationId="{22C13F91-DBAF-434A-85D9-D3B1E2C5F8FA}"/>
          </ac:picMkLst>
        </pc:picChg>
        <pc:picChg chg="mod">
          <ac:chgData name="Peter Jankovský" userId="0f9f04bc-ec60-4337-914d-b29f40e6ede0" providerId="ADAL" clId="{E9FDDE36-7A44-41F2-8BD8-FD5B25BA2BCB}" dt="2020-03-17T14:06:53.242" v="365" actId="1076"/>
          <ac:picMkLst>
            <pc:docMk/>
            <pc:sldMk cId="2196778977" sldId="264"/>
            <ac:picMk id="43" creationId="{50C09DBE-0278-46DC-B8E6-4BFD59F827B6}"/>
          </ac:picMkLst>
        </pc:picChg>
        <pc:picChg chg="mod">
          <ac:chgData name="Peter Jankovský" userId="0f9f04bc-ec60-4337-914d-b29f40e6ede0" providerId="ADAL" clId="{E9FDDE36-7A44-41F2-8BD8-FD5B25BA2BCB}" dt="2020-03-17T14:08:44.437" v="394" actId="1076"/>
          <ac:picMkLst>
            <pc:docMk/>
            <pc:sldMk cId="2196778977" sldId="264"/>
            <ac:picMk id="44" creationId="{A268FA72-B58E-4C18-9E4D-9717B0BBE20A}"/>
          </ac:picMkLst>
        </pc:picChg>
        <pc:picChg chg="mod">
          <ac:chgData name="Peter Jankovský" userId="0f9f04bc-ec60-4337-914d-b29f40e6ede0" providerId="ADAL" clId="{E9FDDE36-7A44-41F2-8BD8-FD5B25BA2BCB}" dt="2020-03-17T14:10:39.524" v="461" actId="1038"/>
          <ac:picMkLst>
            <pc:docMk/>
            <pc:sldMk cId="2196778977" sldId="264"/>
            <ac:picMk id="48" creationId="{6614ED89-D893-4246-8759-CD32BC97AE8D}"/>
          </ac:picMkLst>
        </pc:picChg>
        <pc:picChg chg="del">
          <ac:chgData name="Peter Jankovský" userId="0f9f04bc-ec60-4337-914d-b29f40e6ede0" providerId="ADAL" clId="{E9FDDE36-7A44-41F2-8BD8-FD5B25BA2BCB}" dt="2020-03-17T14:06:59.169" v="366" actId="478"/>
          <ac:picMkLst>
            <pc:docMk/>
            <pc:sldMk cId="2196778977" sldId="264"/>
            <ac:picMk id="50" creationId="{81F84CD8-E82D-45B3-9B2E-D835556084E4}"/>
          </ac:picMkLst>
        </pc:picChg>
        <pc:picChg chg="ord">
          <ac:chgData name="Peter Jankovský" userId="0f9f04bc-ec60-4337-914d-b29f40e6ede0" providerId="ADAL" clId="{E9FDDE36-7A44-41F2-8BD8-FD5B25BA2BCB}" dt="2020-03-17T14:07:59.127" v="384" actId="166"/>
          <ac:picMkLst>
            <pc:docMk/>
            <pc:sldMk cId="2196778977" sldId="264"/>
            <ac:picMk id="51" creationId="{F7DD3708-9788-4467-A9E2-1752DF079C6B}"/>
          </ac:picMkLst>
        </pc:picChg>
        <pc:picChg chg="mod">
          <ac:chgData name="Peter Jankovský" userId="0f9f04bc-ec60-4337-914d-b29f40e6ede0" providerId="ADAL" clId="{E9FDDE36-7A44-41F2-8BD8-FD5B25BA2BCB}" dt="2020-03-17T14:10:22.356" v="433" actId="1076"/>
          <ac:picMkLst>
            <pc:docMk/>
            <pc:sldMk cId="2196778977" sldId="264"/>
            <ac:picMk id="52" creationId="{FB097E06-D898-481C-8F58-B8107055BF7D}"/>
          </ac:picMkLst>
        </pc:picChg>
        <pc:picChg chg="mod">
          <ac:chgData name="Peter Jankovský" userId="0f9f04bc-ec60-4337-914d-b29f40e6ede0" providerId="ADAL" clId="{E9FDDE36-7A44-41F2-8BD8-FD5B25BA2BCB}" dt="2020-03-17T14:10:13.595" v="430" actId="1076"/>
          <ac:picMkLst>
            <pc:docMk/>
            <pc:sldMk cId="2196778977" sldId="264"/>
            <ac:picMk id="53" creationId="{BE37A790-A363-4F6A-A28A-21D7A09216D0}"/>
          </ac:picMkLst>
        </pc:picChg>
        <pc:picChg chg="mod">
          <ac:chgData name="Peter Jankovský" userId="0f9f04bc-ec60-4337-914d-b29f40e6ede0" providerId="ADAL" clId="{E9FDDE36-7A44-41F2-8BD8-FD5B25BA2BCB}" dt="2020-03-17T14:07:09.278" v="369" actId="166"/>
          <ac:picMkLst>
            <pc:docMk/>
            <pc:sldMk cId="2196778977" sldId="264"/>
            <ac:picMk id="57" creationId="{055D46EF-2DCF-4B24-A12E-73344B19A56D}"/>
          </ac:picMkLst>
        </pc:picChg>
        <pc:picChg chg="add mod">
          <ac:chgData name="Peter Jankovský" userId="0f9f04bc-ec60-4337-914d-b29f40e6ede0" providerId="ADAL" clId="{E9FDDE36-7A44-41F2-8BD8-FD5B25BA2BCB}" dt="2020-03-17T14:06:46.615" v="363" actId="1076"/>
          <ac:picMkLst>
            <pc:docMk/>
            <pc:sldMk cId="2196778977" sldId="264"/>
            <ac:picMk id="61" creationId="{B275BBEA-47C9-43F0-9193-8D3B42669462}"/>
          </ac:picMkLst>
        </pc:picChg>
        <pc:picChg chg="add mod ord">
          <ac:chgData name="Peter Jankovský" userId="0f9f04bc-ec60-4337-914d-b29f40e6ede0" providerId="ADAL" clId="{E9FDDE36-7A44-41F2-8BD8-FD5B25BA2BCB}" dt="2020-03-17T14:08:28.539" v="391" actId="1076"/>
          <ac:picMkLst>
            <pc:docMk/>
            <pc:sldMk cId="2196778977" sldId="264"/>
            <ac:picMk id="63" creationId="{CC89217D-1590-42F4-8415-1F444AF83751}"/>
          </ac:picMkLst>
        </pc:picChg>
        <pc:picChg chg="add mod">
          <ac:chgData name="Peter Jankovský" userId="0f9f04bc-ec60-4337-914d-b29f40e6ede0" providerId="ADAL" clId="{E9FDDE36-7A44-41F2-8BD8-FD5B25BA2BCB}" dt="2020-03-17T14:08:57.081" v="398" actId="1036"/>
          <ac:picMkLst>
            <pc:docMk/>
            <pc:sldMk cId="2196778977" sldId="264"/>
            <ac:picMk id="64" creationId="{87B0D6E0-3F0C-4B35-9C98-AD7AF4AA6C69}"/>
          </ac:picMkLst>
        </pc:picChg>
        <pc:picChg chg="add mod">
          <ac:chgData name="Peter Jankovský" userId="0f9f04bc-ec60-4337-914d-b29f40e6ede0" providerId="ADAL" clId="{E9FDDE36-7A44-41F2-8BD8-FD5B25BA2BCB}" dt="2020-03-17T14:08:09.885" v="386" actId="1076"/>
          <ac:picMkLst>
            <pc:docMk/>
            <pc:sldMk cId="2196778977" sldId="264"/>
            <ac:picMk id="65" creationId="{6331C8D2-6D84-4BE6-A775-6093469C35B4}"/>
          </ac:picMkLst>
        </pc:picChg>
        <pc:picChg chg="add mod">
          <ac:chgData name="Peter Jankovský" userId="0f9f04bc-ec60-4337-914d-b29f40e6ede0" providerId="ADAL" clId="{E9FDDE36-7A44-41F2-8BD8-FD5B25BA2BCB}" dt="2020-03-17T14:08:25.305" v="390" actId="1076"/>
          <ac:picMkLst>
            <pc:docMk/>
            <pc:sldMk cId="2196778977" sldId="264"/>
            <ac:picMk id="66" creationId="{43EECDFC-FA83-4160-B5F0-251A4D087AD2}"/>
          </ac:picMkLst>
        </pc:picChg>
        <pc:picChg chg="add mod">
          <ac:chgData name="Peter Jankovský" userId="0f9f04bc-ec60-4337-914d-b29f40e6ede0" providerId="ADAL" clId="{E9FDDE36-7A44-41F2-8BD8-FD5B25BA2BCB}" dt="2020-03-17T14:06:50.591" v="364" actId="1076"/>
          <ac:picMkLst>
            <pc:docMk/>
            <pc:sldMk cId="2196778977" sldId="264"/>
            <ac:picMk id="67" creationId="{71E198AE-C921-4E28-B677-76958A1854DF}"/>
          </ac:picMkLst>
        </pc:picChg>
        <pc:picChg chg="add mod">
          <ac:chgData name="Peter Jankovský" userId="0f9f04bc-ec60-4337-914d-b29f40e6ede0" providerId="ADAL" clId="{E9FDDE36-7A44-41F2-8BD8-FD5B25BA2BCB}" dt="2020-03-17T14:07:36.521" v="376" actId="1076"/>
          <ac:picMkLst>
            <pc:docMk/>
            <pc:sldMk cId="2196778977" sldId="264"/>
            <ac:picMk id="68" creationId="{D3D1AF95-3C18-4E89-8EAF-04AAD1B0DBA5}"/>
          </ac:picMkLst>
        </pc:picChg>
        <pc:picChg chg="add mod">
          <ac:chgData name="Peter Jankovský" userId="0f9f04bc-ec60-4337-914d-b29f40e6ede0" providerId="ADAL" clId="{E9FDDE36-7A44-41F2-8BD8-FD5B25BA2BCB}" dt="2020-03-17T14:08:53.265" v="397" actId="1076"/>
          <ac:picMkLst>
            <pc:docMk/>
            <pc:sldMk cId="2196778977" sldId="264"/>
            <ac:picMk id="69" creationId="{B2841284-29FF-4259-8BBD-EC91525E7DF8}"/>
          </ac:picMkLst>
        </pc:picChg>
        <pc:picChg chg="add mod">
          <ac:chgData name="Peter Jankovský" userId="0f9f04bc-ec60-4337-914d-b29f40e6ede0" providerId="ADAL" clId="{E9FDDE36-7A44-41F2-8BD8-FD5B25BA2BCB}" dt="2020-03-17T14:07:06.297" v="368" actId="1076"/>
          <ac:picMkLst>
            <pc:docMk/>
            <pc:sldMk cId="2196778977" sldId="264"/>
            <ac:picMk id="70" creationId="{80708F7F-4D63-4C6C-9529-375B77F93FC8}"/>
          </ac:picMkLst>
        </pc:picChg>
        <pc:picChg chg="add mod">
          <ac:chgData name="Peter Jankovský" userId="0f9f04bc-ec60-4337-914d-b29f40e6ede0" providerId="ADAL" clId="{E9FDDE36-7A44-41F2-8BD8-FD5B25BA2BCB}" dt="2020-03-17T14:11:10.129" v="498" actId="1038"/>
          <ac:picMkLst>
            <pc:docMk/>
            <pc:sldMk cId="2196778977" sldId="264"/>
            <ac:picMk id="71" creationId="{326D7EB5-3D86-4789-ABBA-F47B3FB658BC}"/>
          </ac:picMkLst>
        </pc:picChg>
        <pc:picChg chg="add mod">
          <ac:chgData name="Peter Jankovský" userId="0f9f04bc-ec60-4337-914d-b29f40e6ede0" providerId="ADAL" clId="{E9FDDE36-7A44-41F2-8BD8-FD5B25BA2BCB}" dt="2020-03-17T14:11:35.748" v="500" actId="1076"/>
          <ac:picMkLst>
            <pc:docMk/>
            <pc:sldMk cId="2196778977" sldId="264"/>
            <ac:picMk id="72" creationId="{B22B5EF6-88A6-462A-A0B7-01D5BE989EF9}"/>
          </ac:picMkLst>
        </pc:picChg>
      </pc:sldChg>
      <pc:sldChg chg="mod modShow">
        <pc:chgData name="Peter Jankovský" userId="0f9f04bc-ec60-4337-914d-b29f40e6ede0" providerId="ADAL" clId="{E9FDDE36-7A44-41F2-8BD8-FD5B25BA2BCB}" dt="2020-03-16T23:08:20.978" v="183" actId="729"/>
        <pc:sldMkLst>
          <pc:docMk/>
          <pc:sldMk cId="2284713158" sldId="268"/>
        </pc:sldMkLst>
      </pc:sldChg>
      <pc:sldChg chg="modSp">
        <pc:chgData name="Peter Jankovský" userId="0f9f04bc-ec60-4337-914d-b29f40e6ede0" providerId="ADAL" clId="{E9FDDE36-7A44-41F2-8BD8-FD5B25BA2BCB}" dt="2020-03-16T23:06:34.603" v="137" actId="20577"/>
        <pc:sldMkLst>
          <pc:docMk/>
          <pc:sldMk cId="241762744" sldId="272"/>
        </pc:sldMkLst>
        <pc:spChg chg="mod">
          <ac:chgData name="Peter Jankovský" userId="0f9f04bc-ec60-4337-914d-b29f40e6ede0" providerId="ADAL" clId="{E9FDDE36-7A44-41F2-8BD8-FD5B25BA2BCB}" dt="2020-03-16T23:06:34.603" v="137" actId="20577"/>
          <ac:spMkLst>
            <pc:docMk/>
            <pc:sldMk cId="241762744" sldId="272"/>
            <ac:spMk id="3" creationId="{293D9A80-A6AC-41A7-83BD-F8EE13F39942}"/>
          </ac:spMkLst>
        </pc:spChg>
      </pc:sldChg>
      <pc:sldChg chg="addSp delSp">
        <pc:chgData name="Peter Jankovský" userId="0f9f04bc-ec60-4337-914d-b29f40e6ede0" providerId="ADAL" clId="{E9FDDE36-7A44-41F2-8BD8-FD5B25BA2BCB}" dt="2020-03-17T13:44:08.954" v="277"/>
        <pc:sldMkLst>
          <pc:docMk/>
          <pc:sldMk cId="2879402467" sldId="273"/>
        </pc:sldMkLst>
        <pc:spChg chg="add del">
          <ac:chgData name="Peter Jankovský" userId="0f9f04bc-ec60-4337-914d-b29f40e6ede0" providerId="ADAL" clId="{E9FDDE36-7A44-41F2-8BD8-FD5B25BA2BCB}" dt="2020-03-17T13:44:08.954" v="277"/>
          <ac:spMkLst>
            <pc:docMk/>
            <pc:sldMk cId="2879402467" sldId="273"/>
            <ac:spMk id="2" creationId="{6752E540-0C87-4CA7-B950-98A7DDDF1F16}"/>
          </ac:spMkLst>
        </pc:spChg>
      </pc:sldChg>
      <pc:sldChg chg="modSp">
        <pc:chgData name="Peter Jankovský" userId="0f9f04bc-ec60-4337-914d-b29f40e6ede0" providerId="ADAL" clId="{E9FDDE36-7A44-41F2-8BD8-FD5B25BA2BCB}" dt="2020-03-16T23:07:55.431" v="182" actId="1076"/>
        <pc:sldMkLst>
          <pc:docMk/>
          <pc:sldMk cId="4251123589" sldId="693"/>
        </pc:sldMkLst>
        <pc:spChg chg="mod">
          <ac:chgData name="Peter Jankovský" userId="0f9f04bc-ec60-4337-914d-b29f40e6ede0" providerId="ADAL" clId="{E9FDDE36-7A44-41F2-8BD8-FD5B25BA2BCB}" dt="2020-03-16T23:03:18.969" v="117" actId="120"/>
          <ac:spMkLst>
            <pc:docMk/>
            <pc:sldMk cId="4251123589" sldId="693"/>
            <ac:spMk id="19" creationId="{E8742ECE-AE7F-4CA3-97BC-273AB0F462DC}"/>
          </ac:spMkLst>
        </pc:spChg>
        <pc:spChg chg="mod">
          <ac:chgData name="Peter Jankovský" userId="0f9f04bc-ec60-4337-914d-b29f40e6ede0" providerId="ADAL" clId="{E9FDDE36-7A44-41F2-8BD8-FD5B25BA2BCB}" dt="2020-03-16T23:07:49.243" v="181" actId="207"/>
          <ac:spMkLst>
            <pc:docMk/>
            <pc:sldMk cId="4251123589" sldId="693"/>
            <ac:spMk id="21" creationId="{72035069-1B0A-4EC1-80CB-00C50DB00F0E}"/>
          </ac:spMkLst>
        </pc:spChg>
        <pc:picChg chg="mod">
          <ac:chgData name="Peter Jankovský" userId="0f9f04bc-ec60-4337-914d-b29f40e6ede0" providerId="ADAL" clId="{E9FDDE36-7A44-41F2-8BD8-FD5B25BA2BCB}" dt="2020-03-16T23:07:55.431" v="182" actId="1076"/>
          <ac:picMkLst>
            <pc:docMk/>
            <pc:sldMk cId="4251123589" sldId="693"/>
            <ac:picMk id="41" creationId="{7A402D69-E47C-43BC-939D-36D584EFEAE5}"/>
          </ac:picMkLst>
        </pc:picChg>
      </pc:sldChg>
      <pc:sldChg chg="mod modShow">
        <pc:chgData name="Peter Jankovský" userId="0f9f04bc-ec60-4337-914d-b29f40e6ede0" providerId="ADAL" clId="{E9FDDE36-7A44-41F2-8BD8-FD5B25BA2BCB}" dt="2020-03-16T23:08:20.978" v="183" actId="729"/>
        <pc:sldMkLst>
          <pc:docMk/>
          <pc:sldMk cId="2010690925" sldId="694"/>
        </pc:sldMkLst>
      </pc:sldChg>
      <pc:sldChg chg="modSp">
        <pc:chgData name="Peter Jankovský" userId="0f9f04bc-ec60-4337-914d-b29f40e6ede0" providerId="ADAL" clId="{E9FDDE36-7A44-41F2-8BD8-FD5B25BA2BCB}" dt="2020-03-18T08:26:33.506" v="605" actId="6549"/>
        <pc:sldMkLst>
          <pc:docMk/>
          <pc:sldMk cId="3369909642" sldId="700"/>
        </pc:sldMkLst>
        <pc:spChg chg="mod">
          <ac:chgData name="Peter Jankovský" userId="0f9f04bc-ec60-4337-914d-b29f40e6ede0" providerId="ADAL" clId="{E9FDDE36-7A44-41F2-8BD8-FD5B25BA2BCB}" dt="2020-03-18T08:25:47.414" v="578" actId="313"/>
          <ac:spMkLst>
            <pc:docMk/>
            <pc:sldMk cId="3369909642" sldId="700"/>
            <ac:spMk id="3" creationId="{C5527264-5F30-4B2B-8A13-36059081DD67}"/>
          </ac:spMkLst>
        </pc:spChg>
        <pc:spChg chg="mod">
          <ac:chgData name="Peter Jankovský" userId="0f9f04bc-ec60-4337-914d-b29f40e6ede0" providerId="ADAL" clId="{E9FDDE36-7A44-41F2-8BD8-FD5B25BA2BCB}" dt="2020-03-18T08:26:33.506" v="605" actId="6549"/>
          <ac:spMkLst>
            <pc:docMk/>
            <pc:sldMk cId="3369909642" sldId="700"/>
            <ac:spMk id="4" creationId="{9AB37C28-7A39-438B-A399-5CC738A1C302}"/>
          </ac:spMkLst>
        </pc:spChg>
        <pc:picChg chg="mod">
          <ac:chgData name="Peter Jankovský" userId="0f9f04bc-ec60-4337-914d-b29f40e6ede0" providerId="ADAL" clId="{E9FDDE36-7A44-41F2-8BD8-FD5B25BA2BCB}" dt="2020-03-18T08:25:41.269" v="576" actId="1076"/>
          <ac:picMkLst>
            <pc:docMk/>
            <pc:sldMk cId="3369909642" sldId="700"/>
            <ac:picMk id="1026" creationId="{94FC0632-6692-41B0-8059-937A1FDBDD44}"/>
          </ac:picMkLst>
        </pc:picChg>
      </pc:sldChg>
      <pc:sldChg chg="addSp delSp modSp">
        <pc:chgData name="Peter Jankovský" userId="0f9f04bc-ec60-4337-914d-b29f40e6ede0" providerId="ADAL" clId="{E9FDDE36-7A44-41F2-8BD8-FD5B25BA2BCB}" dt="2020-03-16T23:03:15.107" v="116" actId="120"/>
        <pc:sldMkLst>
          <pc:docMk/>
          <pc:sldMk cId="4181726520" sldId="701"/>
        </pc:sldMkLst>
        <pc:spChg chg="mod">
          <ac:chgData name="Peter Jankovský" userId="0f9f04bc-ec60-4337-914d-b29f40e6ede0" providerId="ADAL" clId="{E9FDDE36-7A44-41F2-8BD8-FD5B25BA2BCB}" dt="2020-03-16T23:03:15.107" v="116" actId="120"/>
          <ac:spMkLst>
            <pc:docMk/>
            <pc:sldMk cId="4181726520" sldId="701"/>
            <ac:spMk id="19" creationId="{E8742ECE-AE7F-4CA3-97BC-273AB0F462DC}"/>
          </ac:spMkLst>
        </pc:spChg>
        <pc:picChg chg="add del">
          <ac:chgData name="Peter Jankovský" userId="0f9f04bc-ec60-4337-914d-b29f40e6ede0" providerId="ADAL" clId="{E9FDDE36-7A44-41F2-8BD8-FD5B25BA2BCB}" dt="2020-03-16T23:01:09.613" v="29"/>
          <ac:picMkLst>
            <pc:docMk/>
            <pc:sldMk cId="4181726520" sldId="701"/>
            <ac:picMk id="2" creationId="{0AE074FD-61DE-4F43-BC11-A7EF2E278869}"/>
          </ac:picMkLst>
        </pc:picChg>
      </pc:sldChg>
      <pc:sldChg chg="addSp delSp modSp">
        <pc:chgData name="Peter Jankovský" userId="0f9f04bc-ec60-4337-914d-b29f40e6ede0" providerId="ADAL" clId="{E9FDDE36-7A44-41F2-8BD8-FD5B25BA2BCB}" dt="2020-03-16T23:00:30.989" v="27" actId="1076"/>
        <pc:sldMkLst>
          <pc:docMk/>
          <pc:sldMk cId="1552312079" sldId="702"/>
        </pc:sldMkLst>
        <pc:picChg chg="del">
          <ac:chgData name="Peter Jankovský" userId="0f9f04bc-ec60-4337-914d-b29f40e6ede0" providerId="ADAL" clId="{E9FDDE36-7A44-41F2-8BD8-FD5B25BA2BCB}" dt="2020-03-16T22:59:17.057" v="10" actId="478"/>
          <ac:picMkLst>
            <pc:docMk/>
            <pc:sldMk cId="1552312079" sldId="702"/>
            <ac:picMk id="2" creationId="{CC76E91B-F65F-4AC9-A593-0C334541D470}"/>
          </ac:picMkLst>
        </pc:picChg>
        <pc:picChg chg="del">
          <ac:chgData name="Peter Jankovský" userId="0f9f04bc-ec60-4337-914d-b29f40e6ede0" providerId="ADAL" clId="{E9FDDE36-7A44-41F2-8BD8-FD5B25BA2BCB}" dt="2020-03-16T22:59:41.011" v="13" actId="478"/>
          <ac:picMkLst>
            <pc:docMk/>
            <pc:sldMk cId="1552312079" sldId="702"/>
            <ac:picMk id="3" creationId="{C90F3069-355D-4196-9BB0-433EBC7BE191}"/>
          </ac:picMkLst>
        </pc:picChg>
        <pc:picChg chg="add mod ord">
          <ac:chgData name="Peter Jankovský" userId="0f9f04bc-ec60-4337-914d-b29f40e6ede0" providerId="ADAL" clId="{E9FDDE36-7A44-41F2-8BD8-FD5B25BA2BCB}" dt="2020-03-16T23:00:30.989" v="27" actId="1076"/>
          <ac:picMkLst>
            <pc:docMk/>
            <pc:sldMk cId="1552312079" sldId="702"/>
            <ac:picMk id="4" creationId="{63068F78-2DAE-436D-9E52-DCBA352894DB}"/>
          </ac:picMkLst>
        </pc:picChg>
        <pc:picChg chg="add del mod">
          <ac:chgData name="Peter Jankovský" userId="0f9f04bc-ec60-4337-914d-b29f40e6ede0" providerId="ADAL" clId="{E9FDDE36-7A44-41F2-8BD8-FD5B25BA2BCB}" dt="2020-03-16T23:00:11.705" v="23" actId="478"/>
          <ac:picMkLst>
            <pc:docMk/>
            <pc:sldMk cId="1552312079" sldId="702"/>
            <ac:picMk id="6" creationId="{08E97A87-9425-4511-8100-47B1501FE9EB}"/>
          </ac:picMkLst>
        </pc:picChg>
        <pc:picChg chg="add mod">
          <ac:chgData name="Peter Jankovský" userId="0f9f04bc-ec60-4337-914d-b29f40e6ede0" providerId="ADAL" clId="{E9FDDE36-7A44-41F2-8BD8-FD5B25BA2BCB}" dt="2020-03-16T23:00:26.958" v="26" actId="14100"/>
          <ac:picMkLst>
            <pc:docMk/>
            <pc:sldMk cId="1552312079" sldId="702"/>
            <ac:picMk id="7" creationId="{F53FC989-2A55-4D8F-9A80-1B094CF33F16}"/>
          </ac:picMkLst>
        </pc:picChg>
      </pc:sldChg>
      <pc:sldChg chg="addSp delSp modSp add">
        <pc:chgData name="Peter Jankovský" userId="0f9f04bc-ec60-4337-914d-b29f40e6ede0" providerId="ADAL" clId="{E9FDDE36-7A44-41F2-8BD8-FD5B25BA2BCB}" dt="2020-03-16T23:05:36.573" v="125" actId="790"/>
        <pc:sldMkLst>
          <pc:docMk/>
          <pc:sldMk cId="1157444681" sldId="703"/>
        </pc:sldMkLst>
        <pc:spChg chg="mod">
          <ac:chgData name="Peter Jankovský" userId="0f9f04bc-ec60-4337-914d-b29f40e6ede0" providerId="ADAL" clId="{E9FDDE36-7A44-41F2-8BD8-FD5B25BA2BCB}" dt="2020-03-16T23:05:36.573" v="125" actId="790"/>
          <ac:spMkLst>
            <pc:docMk/>
            <pc:sldMk cId="1157444681" sldId="703"/>
            <ac:spMk id="19" creationId="{E8742ECE-AE7F-4CA3-97BC-273AB0F462DC}"/>
          </ac:spMkLst>
        </pc:spChg>
        <pc:spChg chg="mod">
          <ac:chgData name="Peter Jankovský" userId="0f9f04bc-ec60-4337-914d-b29f40e6ede0" providerId="ADAL" clId="{E9FDDE36-7A44-41F2-8BD8-FD5B25BA2BCB}" dt="2020-03-16T23:04:30.052" v="124" actId="1076"/>
          <ac:spMkLst>
            <pc:docMk/>
            <pc:sldMk cId="1157444681" sldId="703"/>
            <ac:spMk id="20" creationId="{8F373ADB-FA28-40E7-9293-2C5A72C0A1A6}"/>
          </ac:spMkLst>
        </pc:spChg>
        <pc:picChg chg="add mod">
          <ac:chgData name="Peter Jankovský" userId="0f9f04bc-ec60-4337-914d-b29f40e6ede0" providerId="ADAL" clId="{E9FDDE36-7A44-41F2-8BD8-FD5B25BA2BCB}" dt="2020-03-16T23:03:59.797" v="119" actId="1076"/>
          <ac:picMkLst>
            <pc:docMk/>
            <pc:sldMk cId="1157444681" sldId="703"/>
            <ac:picMk id="2" creationId="{B49C6711-BCF2-4EF1-A5F7-D674999E0D43}"/>
          </ac:picMkLst>
        </pc:picChg>
        <pc:picChg chg="del">
          <ac:chgData name="Peter Jankovský" userId="0f9f04bc-ec60-4337-914d-b29f40e6ede0" providerId="ADAL" clId="{E9FDDE36-7A44-41F2-8BD8-FD5B25BA2BCB}" dt="2020-03-16T23:01:16.475" v="31" actId="478"/>
          <ac:picMkLst>
            <pc:docMk/>
            <pc:sldMk cId="1157444681" sldId="703"/>
            <ac:picMk id="3" creationId="{3E055CA2-9324-481A-812C-66DF01AB4553}"/>
          </ac:picMkLst>
        </pc:picChg>
      </pc:sldChg>
    </pc:docChg>
  </pc:docChgLst>
  <pc:docChgLst>
    <pc:chgData name="Peter Jankovský" userId="0f9f04bc-ec60-4337-914d-b29f40e6ede0" providerId="ADAL" clId="{6B4DADEE-0732-4734-BFCB-85A9BFFB0F06}"/>
    <pc:docChg chg="undo custSel modSld">
      <pc:chgData name="Peter Jankovský" userId="0f9f04bc-ec60-4337-914d-b29f40e6ede0" providerId="ADAL" clId="{6B4DADEE-0732-4734-BFCB-85A9BFFB0F06}" dt="2020-10-15T10:02:41.984" v="255" actId="1076"/>
      <pc:docMkLst>
        <pc:docMk/>
      </pc:docMkLst>
      <pc:sldChg chg="modSp">
        <pc:chgData name="Peter Jankovský" userId="0f9f04bc-ec60-4337-914d-b29f40e6ede0" providerId="ADAL" clId="{6B4DADEE-0732-4734-BFCB-85A9BFFB0F06}" dt="2020-10-15T09:54:40.958" v="74" actId="20577"/>
        <pc:sldMkLst>
          <pc:docMk/>
          <pc:sldMk cId="1880138099" sldId="259"/>
        </pc:sldMkLst>
        <pc:graphicFrameChg chg="mod">
          <ac:chgData name="Peter Jankovský" userId="0f9f04bc-ec60-4337-914d-b29f40e6ede0" providerId="ADAL" clId="{6B4DADEE-0732-4734-BFCB-85A9BFFB0F06}" dt="2020-10-15T09:54:40.958" v="74" actId="20577"/>
          <ac:graphicFrameMkLst>
            <pc:docMk/>
            <pc:sldMk cId="1880138099" sldId="259"/>
            <ac:graphicFrameMk id="4" creationId="{00000000-0000-0000-0000-000000000000}"/>
          </ac:graphicFrameMkLst>
        </pc:graphicFrameChg>
      </pc:sldChg>
      <pc:sldChg chg="addSp modSp mod">
        <pc:chgData name="Peter Jankovský" userId="0f9f04bc-ec60-4337-914d-b29f40e6ede0" providerId="ADAL" clId="{6B4DADEE-0732-4734-BFCB-85A9BFFB0F06}" dt="2020-10-15T10:02:41.984" v="255" actId="1076"/>
        <pc:sldMkLst>
          <pc:docMk/>
          <pc:sldMk cId="2879402467" sldId="273"/>
        </pc:sldMkLst>
        <pc:spChg chg="mod">
          <ac:chgData name="Peter Jankovský" userId="0f9f04bc-ec60-4337-914d-b29f40e6ede0" providerId="ADAL" clId="{6B4DADEE-0732-4734-BFCB-85A9BFFB0F06}" dt="2020-10-15T10:00:38.594" v="207" actId="20577"/>
          <ac:spMkLst>
            <pc:docMk/>
            <pc:sldMk cId="2879402467" sldId="273"/>
            <ac:spMk id="7" creationId="{EF56FF7B-85FF-4ADD-B533-47DEC7B3E272}"/>
          </ac:spMkLst>
        </pc:spChg>
        <pc:spChg chg="add mod">
          <ac:chgData name="Peter Jankovský" userId="0f9f04bc-ec60-4337-914d-b29f40e6ede0" providerId="ADAL" clId="{6B4DADEE-0732-4734-BFCB-85A9BFFB0F06}" dt="2020-10-15T10:02:41.984" v="255" actId="1076"/>
          <ac:spMkLst>
            <pc:docMk/>
            <pc:sldMk cId="2879402467" sldId="273"/>
            <ac:spMk id="37" creationId="{7E19CD35-A9FB-41B4-B171-75F3D5852EEC}"/>
          </ac:spMkLst>
        </pc:spChg>
        <pc:grpChg chg="mod">
          <ac:chgData name="Peter Jankovský" userId="0f9f04bc-ec60-4337-914d-b29f40e6ede0" providerId="ADAL" clId="{6B4DADEE-0732-4734-BFCB-85A9BFFB0F06}" dt="2020-10-15T09:57:33.724" v="163" actId="1076"/>
          <ac:grpSpMkLst>
            <pc:docMk/>
            <pc:sldMk cId="2879402467" sldId="273"/>
            <ac:grpSpMk id="40" creationId="{D51C0FE2-A556-46B6-9EA6-887B3469B461}"/>
          </ac:grpSpMkLst>
        </pc:grpChg>
        <pc:picChg chg="mod">
          <ac:chgData name="Peter Jankovský" userId="0f9f04bc-ec60-4337-914d-b29f40e6ede0" providerId="ADAL" clId="{6B4DADEE-0732-4734-BFCB-85A9BFFB0F06}" dt="2020-10-15T10:01:34.549" v="241" actId="1036"/>
          <ac:picMkLst>
            <pc:docMk/>
            <pc:sldMk cId="2879402467" sldId="273"/>
            <ac:picMk id="3" creationId="{33F07511-F535-4AE0-AC86-4B536462A91C}"/>
          </ac:picMkLst>
        </pc:picChg>
        <pc:picChg chg="mod">
          <ac:chgData name="Peter Jankovský" userId="0f9f04bc-ec60-4337-914d-b29f40e6ede0" providerId="ADAL" clId="{6B4DADEE-0732-4734-BFCB-85A9BFFB0F06}" dt="2020-10-15T10:02:36.721" v="254" actId="1076"/>
          <ac:picMkLst>
            <pc:docMk/>
            <pc:sldMk cId="2879402467" sldId="273"/>
            <ac:picMk id="5" creationId="{37813E4C-8D49-485C-9D97-CCC314EAE65E}"/>
          </ac:picMkLst>
        </pc:picChg>
      </pc:sldChg>
      <pc:sldChg chg="modSp mod">
        <pc:chgData name="Peter Jankovský" userId="0f9f04bc-ec60-4337-914d-b29f40e6ede0" providerId="ADAL" clId="{6B4DADEE-0732-4734-BFCB-85A9BFFB0F06}" dt="2020-10-15T10:00:00.539" v="194" actId="207"/>
        <pc:sldMkLst>
          <pc:docMk/>
          <pc:sldMk cId="4251123589" sldId="693"/>
        </pc:sldMkLst>
        <pc:spChg chg="mod">
          <ac:chgData name="Peter Jankovský" userId="0f9f04bc-ec60-4337-914d-b29f40e6ede0" providerId="ADAL" clId="{6B4DADEE-0732-4734-BFCB-85A9BFFB0F06}" dt="2020-10-15T10:00:00.539" v="194" actId="207"/>
          <ac:spMkLst>
            <pc:docMk/>
            <pc:sldMk cId="4251123589" sldId="693"/>
            <ac:spMk id="20" creationId="{8F373ADB-FA28-40E7-9293-2C5A72C0A1A6}"/>
          </ac:spMkLst>
        </pc:spChg>
        <pc:spChg chg="mod">
          <ac:chgData name="Peter Jankovský" userId="0f9f04bc-ec60-4337-914d-b29f40e6ede0" providerId="ADAL" clId="{6B4DADEE-0732-4734-BFCB-85A9BFFB0F06}" dt="2020-10-15T09:58:00.325" v="166" actId="14100"/>
          <ac:spMkLst>
            <pc:docMk/>
            <pc:sldMk cId="4251123589" sldId="693"/>
            <ac:spMk id="94" creationId="{00000000-0000-0000-0000-000000000000}"/>
          </ac:spMkLst>
        </pc:spChg>
      </pc:sldChg>
    </pc:docChg>
  </pc:docChgLst>
  <pc:docChgLst>
    <pc:chgData name="Peter Jankovsky" userId="0f9f04bc-ec60-4337-914d-b29f40e6ede0" providerId="ADAL" clId="{B3FE5308-905C-415B-8499-FFD80570B621}"/>
    <pc:docChg chg="undo custSel addSld delSld modSld">
      <pc:chgData name="Peter Jankovsky" userId="0f9f04bc-ec60-4337-914d-b29f40e6ede0" providerId="ADAL" clId="{B3FE5308-905C-415B-8499-FFD80570B621}" dt="2019-11-09T17:10:35.767" v="185" actId="14100"/>
      <pc:docMkLst>
        <pc:docMk/>
      </pc:docMkLst>
      <pc:sldChg chg="modSp">
        <pc:chgData name="Peter Jankovsky" userId="0f9f04bc-ec60-4337-914d-b29f40e6ede0" providerId="ADAL" clId="{B3FE5308-905C-415B-8499-FFD80570B621}" dt="2019-11-09T16:53:08.214" v="41" actId="790"/>
        <pc:sldMkLst>
          <pc:docMk/>
          <pc:sldMk cId="2879402467" sldId="273"/>
        </pc:sldMkLst>
        <pc:spChg chg="mod">
          <ac:chgData name="Peter Jankovsky" userId="0f9f04bc-ec60-4337-914d-b29f40e6ede0" providerId="ADAL" clId="{B3FE5308-905C-415B-8499-FFD80570B621}" dt="2019-11-09T16:53:08.214" v="41" actId="790"/>
          <ac:spMkLst>
            <pc:docMk/>
            <pc:sldMk cId="2879402467" sldId="273"/>
            <ac:spMk id="7" creationId="{EF56FF7B-85FF-4ADD-B533-47DEC7B3E272}"/>
          </ac:spMkLst>
        </pc:spChg>
      </pc:sldChg>
      <pc:sldChg chg="addSp delSp modSp">
        <pc:chgData name="Peter Jankovsky" userId="0f9f04bc-ec60-4337-914d-b29f40e6ede0" providerId="ADAL" clId="{B3FE5308-905C-415B-8499-FFD80570B621}" dt="2019-11-09T16:56:14.291" v="46" actId="1076"/>
        <pc:sldMkLst>
          <pc:docMk/>
          <pc:sldMk cId="1380303308" sldId="699"/>
        </pc:sldMkLst>
        <pc:spChg chg="mod ord">
          <ac:chgData name="Peter Jankovsky" userId="0f9f04bc-ec60-4337-914d-b29f40e6ede0" providerId="ADAL" clId="{B3FE5308-905C-415B-8499-FFD80570B621}" dt="2019-11-09T16:52:06.886" v="17" actId="207"/>
          <ac:spMkLst>
            <pc:docMk/>
            <pc:sldMk cId="1380303308" sldId="699"/>
            <ac:spMk id="3" creationId="{DAB90D91-FE7E-491A-B706-292BD05471B2}"/>
          </ac:spMkLst>
        </pc:spChg>
        <pc:picChg chg="add del mod">
          <ac:chgData name="Peter Jankovsky" userId="0f9f04bc-ec60-4337-914d-b29f40e6ede0" providerId="ADAL" clId="{B3FE5308-905C-415B-8499-FFD80570B621}" dt="2019-11-09T16:56:02.616" v="42" actId="478"/>
          <ac:picMkLst>
            <pc:docMk/>
            <pc:sldMk cId="1380303308" sldId="699"/>
            <ac:picMk id="2" creationId="{C52B42DC-49AB-4398-8FD5-1A028D033D37}"/>
          </ac:picMkLst>
        </pc:picChg>
        <pc:picChg chg="add mod">
          <ac:chgData name="Peter Jankovsky" userId="0f9f04bc-ec60-4337-914d-b29f40e6ede0" providerId="ADAL" clId="{B3FE5308-905C-415B-8499-FFD80570B621}" dt="2019-11-09T16:56:14.291" v="46" actId="1076"/>
          <ac:picMkLst>
            <pc:docMk/>
            <pc:sldMk cId="1380303308" sldId="699"/>
            <ac:picMk id="4" creationId="{CB6171EE-A96E-4B73-9C7F-11C5D7C58E46}"/>
          </ac:picMkLst>
        </pc:picChg>
        <pc:picChg chg="del">
          <ac:chgData name="Peter Jankovsky" userId="0f9f04bc-ec60-4337-914d-b29f40e6ede0" providerId="ADAL" clId="{B3FE5308-905C-415B-8499-FFD80570B621}" dt="2019-11-09T16:50:57.900" v="0" actId="478"/>
          <ac:picMkLst>
            <pc:docMk/>
            <pc:sldMk cId="1380303308" sldId="699"/>
            <ac:picMk id="4" creationId="{F50B2913-B846-4A2D-950C-BB285BF207C7}"/>
          </ac:picMkLst>
        </pc:picChg>
      </pc:sldChg>
      <pc:sldChg chg="add del">
        <pc:chgData name="Peter Jankovsky" userId="0f9f04bc-ec60-4337-914d-b29f40e6ede0" providerId="ADAL" clId="{B3FE5308-905C-415B-8499-FFD80570B621}" dt="2019-11-09T16:57:30.681" v="48"/>
        <pc:sldMkLst>
          <pc:docMk/>
          <pc:sldMk cId="3150854671" sldId="701"/>
        </pc:sldMkLst>
      </pc:sldChg>
      <pc:sldChg chg="addSp delSp modSp add delAnim modAnim">
        <pc:chgData name="Peter Jankovsky" userId="0f9f04bc-ec60-4337-914d-b29f40e6ede0" providerId="ADAL" clId="{B3FE5308-905C-415B-8499-FFD80570B621}" dt="2019-11-09T17:10:35.767" v="185" actId="14100"/>
        <pc:sldMkLst>
          <pc:docMk/>
          <pc:sldMk cId="4181726520" sldId="701"/>
        </pc:sldMkLst>
        <pc:spChg chg="add del">
          <ac:chgData name="Peter Jankovsky" userId="0f9f04bc-ec60-4337-914d-b29f40e6ede0" providerId="ADAL" clId="{B3FE5308-905C-415B-8499-FFD80570B621}" dt="2019-11-09T17:06:14.835" v="63"/>
          <ac:spMkLst>
            <pc:docMk/>
            <pc:sldMk cId="4181726520" sldId="701"/>
            <ac:spMk id="2" creationId="{9CDAF954-1DD7-4C26-8C6C-B0002613072F}"/>
          </ac:spMkLst>
        </pc:spChg>
        <pc:spChg chg="mod">
          <ac:chgData name="Peter Jankovsky" userId="0f9f04bc-ec60-4337-914d-b29f40e6ede0" providerId="ADAL" clId="{B3FE5308-905C-415B-8499-FFD80570B621}" dt="2019-11-09T17:06:11.171" v="61" actId="1076"/>
          <ac:spMkLst>
            <pc:docMk/>
            <pc:sldMk cId="4181726520" sldId="701"/>
            <ac:spMk id="19" creationId="{E8742ECE-AE7F-4CA3-97BC-273AB0F462DC}"/>
          </ac:spMkLst>
        </pc:spChg>
        <pc:spChg chg="mod">
          <ac:chgData name="Peter Jankovsky" userId="0f9f04bc-ec60-4337-914d-b29f40e6ede0" providerId="ADAL" clId="{B3FE5308-905C-415B-8499-FFD80570B621}" dt="2019-11-09T17:10:10.782" v="161" actId="1076"/>
          <ac:spMkLst>
            <pc:docMk/>
            <pc:sldMk cId="4181726520" sldId="701"/>
            <ac:spMk id="20" creationId="{8F373ADB-FA28-40E7-9293-2C5A72C0A1A6}"/>
          </ac:spMkLst>
        </pc:spChg>
        <pc:spChg chg="del mod">
          <ac:chgData name="Peter Jankovsky" userId="0f9f04bc-ec60-4337-914d-b29f40e6ede0" providerId="ADAL" clId="{B3FE5308-905C-415B-8499-FFD80570B621}" dt="2019-11-09T16:58:52.155" v="55" actId="478"/>
          <ac:spMkLst>
            <pc:docMk/>
            <pc:sldMk cId="4181726520" sldId="701"/>
            <ac:spMk id="21" creationId="{72035069-1B0A-4EC1-80CB-00C50DB00F0E}"/>
          </ac:spMkLst>
        </pc:spChg>
        <pc:spChg chg="del">
          <ac:chgData name="Peter Jankovsky" userId="0f9f04bc-ec60-4337-914d-b29f40e6ede0" providerId="ADAL" clId="{B3FE5308-905C-415B-8499-FFD80570B621}" dt="2019-11-09T17:06:08.727" v="59" actId="478"/>
          <ac:spMkLst>
            <pc:docMk/>
            <pc:sldMk cId="4181726520" sldId="701"/>
            <ac:spMk id="27" creationId="{00000000-0000-0000-0000-000000000000}"/>
          </ac:spMkLst>
        </pc:spChg>
        <pc:spChg chg="del">
          <ac:chgData name="Peter Jankovsky" userId="0f9f04bc-ec60-4337-914d-b29f40e6ede0" providerId="ADAL" clId="{B3FE5308-905C-415B-8499-FFD80570B621}" dt="2019-11-09T17:06:51.198" v="68" actId="478"/>
          <ac:spMkLst>
            <pc:docMk/>
            <pc:sldMk cId="4181726520" sldId="701"/>
            <ac:spMk id="28" creationId="{F421C2A5-2B83-40DC-84AA-EF127BAD45B9}"/>
          </ac:spMkLst>
        </pc:spChg>
        <pc:spChg chg="del">
          <ac:chgData name="Peter Jankovsky" userId="0f9f04bc-ec60-4337-914d-b29f40e6ede0" providerId="ADAL" clId="{B3FE5308-905C-415B-8499-FFD80570B621}" dt="2019-11-09T16:58:54.334" v="58" actId="478"/>
          <ac:spMkLst>
            <pc:docMk/>
            <pc:sldMk cId="4181726520" sldId="701"/>
            <ac:spMk id="31" creationId="{00000000-0000-0000-0000-000000000000}"/>
          </ac:spMkLst>
        </pc:spChg>
        <pc:spChg chg="del">
          <ac:chgData name="Peter Jankovsky" userId="0f9f04bc-ec60-4337-914d-b29f40e6ede0" providerId="ADAL" clId="{B3FE5308-905C-415B-8499-FFD80570B621}" dt="2019-11-09T17:06:51.198" v="68" actId="478"/>
          <ac:spMkLst>
            <pc:docMk/>
            <pc:sldMk cId="4181726520" sldId="701"/>
            <ac:spMk id="32" creationId="{9EC09ADF-E3B7-4870-9759-D1D5B9C60245}"/>
          </ac:spMkLst>
        </pc:spChg>
        <pc:spChg chg="del mod">
          <ac:chgData name="Peter Jankovsky" userId="0f9f04bc-ec60-4337-914d-b29f40e6ede0" providerId="ADAL" clId="{B3FE5308-905C-415B-8499-FFD80570B621}" dt="2019-11-09T17:06:51.198" v="68" actId="478"/>
          <ac:spMkLst>
            <pc:docMk/>
            <pc:sldMk cId="4181726520" sldId="701"/>
            <ac:spMk id="94" creationId="{00000000-0000-0000-0000-000000000000}"/>
          </ac:spMkLst>
        </pc:spChg>
        <pc:spChg chg="del mod">
          <ac:chgData name="Peter Jankovsky" userId="0f9f04bc-ec60-4337-914d-b29f40e6ede0" providerId="ADAL" clId="{B3FE5308-905C-415B-8499-FFD80570B621}" dt="2019-11-09T16:58:53.642" v="57" actId="478"/>
          <ac:spMkLst>
            <pc:docMk/>
            <pc:sldMk cId="4181726520" sldId="701"/>
            <ac:spMk id="96" creationId="{00000000-0000-0000-0000-000000000000}"/>
          </ac:spMkLst>
        </pc:spChg>
        <pc:spChg chg="del">
          <ac:chgData name="Peter Jankovsky" userId="0f9f04bc-ec60-4337-914d-b29f40e6ede0" providerId="ADAL" clId="{B3FE5308-905C-415B-8499-FFD80570B621}" dt="2019-11-09T17:06:51.198" v="68" actId="478"/>
          <ac:spMkLst>
            <pc:docMk/>
            <pc:sldMk cId="4181726520" sldId="701"/>
            <ac:spMk id="106" creationId="{7477EE9C-8BAD-4D86-9B5E-9552943B1F1D}"/>
          </ac:spMkLst>
        </pc:spChg>
        <pc:picChg chg="add mod">
          <ac:chgData name="Peter Jankovsky" userId="0f9f04bc-ec60-4337-914d-b29f40e6ede0" providerId="ADAL" clId="{B3FE5308-905C-415B-8499-FFD80570B621}" dt="2019-11-09T17:10:35.767" v="185" actId="14100"/>
          <ac:picMkLst>
            <pc:docMk/>
            <pc:sldMk cId="4181726520" sldId="701"/>
            <ac:picMk id="3" creationId="{3E055CA2-9324-481A-812C-66DF01AB4553}"/>
          </ac:picMkLst>
        </pc:picChg>
        <pc:picChg chg="del">
          <ac:chgData name="Peter Jankovsky" userId="0f9f04bc-ec60-4337-914d-b29f40e6ede0" providerId="ADAL" clId="{B3FE5308-905C-415B-8499-FFD80570B621}" dt="2019-11-09T17:06:20.025" v="64" actId="478"/>
          <ac:picMkLst>
            <pc:docMk/>
            <pc:sldMk cId="4181726520" sldId="701"/>
            <ac:picMk id="41" creationId="{7A402D69-E47C-43BC-939D-36D584EFEAE5}"/>
          </ac:picMkLst>
        </pc:picChg>
        <pc:picChg chg="del">
          <ac:chgData name="Peter Jankovsky" userId="0f9f04bc-ec60-4337-914d-b29f40e6ede0" providerId="ADAL" clId="{B3FE5308-905C-415B-8499-FFD80570B621}" dt="2019-11-09T17:07:02.619" v="79" actId="478"/>
          <ac:picMkLst>
            <pc:docMk/>
            <pc:sldMk cId="4181726520" sldId="701"/>
            <ac:picMk id="1026" creationId="{59320EB7-7FA6-48A8-9B50-324B50E2FF12}"/>
          </ac:picMkLst>
        </pc:picChg>
      </pc:sldChg>
    </pc:docChg>
  </pc:docChgLst>
  <pc:docChgLst>
    <pc:chgData name="Peter" userId="0f9f04bc-ec60-4337-914d-b29f40e6ede0" providerId="ADAL" clId="{E9FDDE36-7A44-41F2-8BD8-FD5B25BA2BCB}"/>
    <pc:docChg chg="custSel modSld">
      <pc:chgData name="Peter" userId="0f9f04bc-ec60-4337-914d-b29f40e6ede0" providerId="ADAL" clId="{E9FDDE36-7A44-41F2-8BD8-FD5B25BA2BCB}" dt="2020-03-18T09:32:59.058" v="31" actId="1076"/>
      <pc:docMkLst>
        <pc:docMk/>
      </pc:docMkLst>
      <pc:sldChg chg="modSp">
        <pc:chgData name="Peter" userId="0f9f04bc-ec60-4337-914d-b29f40e6ede0" providerId="ADAL" clId="{E9FDDE36-7A44-41F2-8BD8-FD5B25BA2BCB}" dt="2020-03-18T09:25:14.865" v="19" actId="1076"/>
        <pc:sldMkLst>
          <pc:docMk/>
          <pc:sldMk cId="4120783338" sldId="263"/>
        </pc:sldMkLst>
        <pc:spChg chg="ord">
          <ac:chgData name="Peter" userId="0f9f04bc-ec60-4337-914d-b29f40e6ede0" providerId="ADAL" clId="{E9FDDE36-7A44-41F2-8BD8-FD5B25BA2BCB}" dt="2020-03-18T09:16:32.436" v="5" actId="166"/>
          <ac:spMkLst>
            <pc:docMk/>
            <pc:sldMk cId="4120783338" sldId="263"/>
            <ac:spMk id="6" creationId="{2126D113-116B-49DA-8FA2-73A6F3579C14}"/>
          </ac:spMkLst>
        </pc:spChg>
        <pc:picChg chg="mod">
          <ac:chgData name="Peter" userId="0f9f04bc-ec60-4337-914d-b29f40e6ede0" providerId="ADAL" clId="{E9FDDE36-7A44-41F2-8BD8-FD5B25BA2BCB}" dt="2020-03-18T09:25:13.116" v="18" actId="1076"/>
          <ac:picMkLst>
            <pc:docMk/>
            <pc:sldMk cId="4120783338" sldId="263"/>
            <ac:picMk id="17" creationId="{A5C2AF6B-1E62-45B0-8C69-0B436D4E3447}"/>
          </ac:picMkLst>
        </pc:picChg>
        <pc:picChg chg="mod">
          <ac:chgData name="Peter" userId="0f9f04bc-ec60-4337-914d-b29f40e6ede0" providerId="ADAL" clId="{E9FDDE36-7A44-41F2-8BD8-FD5B25BA2BCB}" dt="2020-03-18T09:24:23.397" v="12" actId="1076"/>
          <ac:picMkLst>
            <pc:docMk/>
            <pc:sldMk cId="4120783338" sldId="263"/>
            <ac:picMk id="19" creationId="{30B9894B-8423-49D1-88C9-CB527140EF23}"/>
          </ac:picMkLst>
        </pc:picChg>
        <pc:picChg chg="mod">
          <ac:chgData name="Peter" userId="0f9f04bc-ec60-4337-914d-b29f40e6ede0" providerId="ADAL" clId="{E9FDDE36-7A44-41F2-8BD8-FD5B25BA2BCB}" dt="2020-03-18T09:25:14.865" v="19" actId="1076"/>
          <ac:picMkLst>
            <pc:docMk/>
            <pc:sldMk cId="4120783338" sldId="263"/>
            <ac:picMk id="47" creationId="{2DA2B6F2-F917-4F71-93AF-D61B2EDAC426}"/>
          </ac:picMkLst>
        </pc:picChg>
        <pc:picChg chg="mod">
          <ac:chgData name="Peter" userId="0f9f04bc-ec60-4337-914d-b29f40e6ede0" providerId="ADAL" clId="{E9FDDE36-7A44-41F2-8BD8-FD5B25BA2BCB}" dt="2020-03-18T09:25:04.285" v="16" actId="1076"/>
          <ac:picMkLst>
            <pc:docMk/>
            <pc:sldMk cId="4120783338" sldId="263"/>
            <ac:picMk id="50" creationId="{4866919D-3B01-47EB-9F1D-B419E93C9F6F}"/>
          </ac:picMkLst>
        </pc:picChg>
        <pc:picChg chg="mod">
          <ac:chgData name="Peter" userId="0f9f04bc-ec60-4337-914d-b29f40e6ede0" providerId="ADAL" clId="{E9FDDE36-7A44-41F2-8BD8-FD5B25BA2BCB}" dt="2020-03-18T09:25:10.646" v="17" actId="1076"/>
          <ac:picMkLst>
            <pc:docMk/>
            <pc:sldMk cId="4120783338" sldId="263"/>
            <ac:picMk id="52" creationId="{249CF57A-9DE1-4FD0-8597-3A24550B1619}"/>
          </ac:picMkLst>
        </pc:picChg>
        <pc:picChg chg="mod">
          <ac:chgData name="Peter" userId="0f9f04bc-ec60-4337-914d-b29f40e6ede0" providerId="ADAL" clId="{E9FDDE36-7A44-41F2-8BD8-FD5B25BA2BCB}" dt="2020-03-18T09:24:58.881" v="15" actId="1076"/>
          <ac:picMkLst>
            <pc:docMk/>
            <pc:sldMk cId="4120783338" sldId="263"/>
            <ac:picMk id="53" creationId="{4E35D07C-B667-4F8E-B670-3AA181C7A355}"/>
          </ac:picMkLst>
        </pc:picChg>
        <pc:picChg chg="mod">
          <ac:chgData name="Peter" userId="0f9f04bc-ec60-4337-914d-b29f40e6ede0" providerId="ADAL" clId="{E9FDDE36-7A44-41F2-8BD8-FD5B25BA2BCB}" dt="2020-03-18T09:24:47.799" v="14" actId="1076"/>
          <ac:picMkLst>
            <pc:docMk/>
            <pc:sldMk cId="4120783338" sldId="263"/>
            <ac:picMk id="61" creationId="{F57DE63A-ED89-43E6-AC5C-3E196F590821}"/>
          </ac:picMkLst>
        </pc:picChg>
        <pc:picChg chg="ord">
          <ac:chgData name="Peter" userId="0f9f04bc-ec60-4337-914d-b29f40e6ede0" providerId="ADAL" clId="{E9FDDE36-7A44-41F2-8BD8-FD5B25BA2BCB}" dt="2020-03-18T09:23:41.182" v="10" actId="166"/>
          <ac:picMkLst>
            <pc:docMk/>
            <pc:sldMk cId="4120783338" sldId="263"/>
            <ac:picMk id="63" creationId="{B8DECE93-9029-4299-B6FF-13FB6A00DE8C}"/>
          </ac:picMkLst>
        </pc:picChg>
        <pc:picChg chg="mod">
          <ac:chgData name="Peter" userId="0f9f04bc-ec60-4337-914d-b29f40e6ede0" providerId="ADAL" clId="{E9FDDE36-7A44-41F2-8BD8-FD5B25BA2BCB}" dt="2020-03-18T09:24:20.013" v="11" actId="1076"/>
          <ac:picMkLst>
            <pc:docMk/>
            <pc:sldMk cId="4120783338" sldId="263"/>
            <ac:picMk id="64" creationId="{7539E57E-E53B-4BFD-AD44-94C4B6133120}"/>
          </ac:picMkLst>
        </pc:picChg>
        <pc:picChg chg="ord">
          <ac:chgData name="Peter" userId="0f9f04bc-ec60-4337-914d-b29f40e6ede0" providerId="ADAL" clId="{E9FDDE36-7A44-41F2-8BD8-FD5B25BA2BCB}" dt="2020-03-18T09:23:28.155" v="7" actId="166"/>
          <ac:picMkLst>
            <pc:docMk/>
            <pc:sldMk cId="4120783338" sldId="263"/>
            <ac:picMk id="65" creationId="{A3497B80-C155-43CA-86EA-EF0A1AEFAC61}"/>
          </ac:picMkLst>
        </pc:picChg>
        <pc:picChg chg="ord">
          <ac:chgData name="Peter" userId="0f9f04bc-ec60-4337-914d-b29f40e6ede0" providerId="ADAL" clId="{E9FDDE36-7A44-41F2-8BD8-FD5B25BA2BCB}" dt="2020-03-18T09:23:32.300" v="8" actId="166"/>
          <ac:picMkLst>
            <pc:docMk/>
            <pc:sldMk cId="4120783338" sldId="263"/>
            <ac:picMk id="66" creationId="{949F6F06-95B1-45F8-B275-132F34AB4FA2}"/>
          </ac:picMkLst>
        </pc:picChg>
        <pc:picChg chg="mod">
          <ac:chgData name="Peter" userId="0f9f04bc-ec60-4337-914d-b29f40e6ede0" providerId="ADAL" clId="{E9FDDE36-7A44-41F2-8BD8-FD5B25BA2BCB}" dt="2020-03-18T09:16:27.085" v="4" actId="1037"/>
          <ac:picMkLst>
            <pc:docMk/>
            <pc:sldMk cId="4120783338" sldId="263"/>
            <ac:picMk id="68" creationId="{B9AE6535-79BD-4813-9346-BB59008E2EE7}"/>
          </ac:picMkLst>
        </pc:picChg>
        <pc:picChg chg="ord">
          <ac:chgData name="Peter" userId="0f9f04bc-ec60-4337-914d-b29f40e6ede0" providerId="ADAL" clId="{E9FDDE36-7A44-41F2-8BD8-FD5B25BA2BCB}" dt="2020-03-18T09:24:37.661" v="13" actId="166"/>
          <ac:picMkLst>
            <pc:docMk/>
            <pc:sldMk cId="4120783338" sldId="263"/>
            <ac:picMk id="75" creationId="{BFDFA6D7-C526-4B72-B5F0-F8C7FE7CEEDB}"/>
          </ac:picMkLst>
        </pc:picChg>
      </pc:sldChg>
      <pc:sldChg chg="modSp">
        <pc:chgData name="Peter" userId="0f9f04bc-ec60-4337-914d-b29f40e6ede0" providerId="ADAL" clId="{E9FDDE36-7A44-41F2-8BD8-FD5B25BA2BCB}" dt="2020-03-18T09:30:19.018" v="26" actId="1076"/>
        <pc:sldMkLst>
          <pc:docMk/>
          <pc:sldMk cId="2196778977" sldId="264"/>
        </pc:sldMkLst>
        <pc:picChg chg="mod">
          <ac:chgData name="Peter" userId="0f9f04bc-ec60-4337-914d-b29f40e6ede0" providerId="ADAL" clId="{E9FDDE36-7A44-41F2-8BD8-FD5B25BA2BCB}" dt="2020-03-18T09:30:14.498" v="24" actId="1076"/>
          <ac:picMkLst>
            <pc:docMk/>
            <pc:sldMk cId="2196778977" sldId="264"/>
            <ac:picMk id="31" creationId="{970CCB0F-C862-44F6-AEDB-9A5D2E206364}"/>
          </ac:picMkLst>
        </pc:picChg>
        <pc:picChg chg="mod">
          <ac:chgData name="Peter" userId="0f9f04bc-ec60-4337-914d-b29f40e6ede0" providerId="ADAL" clId="{E9FDDE36-7A44-41F2-8BD8-FD5B25BA2BCB}" dt="2020-03-18T09:30:06.249" v="20" actId="1076"/>
          <ac:picMkLst>
            <pc:docMk/>
            <pc:sldMk cId="2196778977" sldId="264"/>
            <ac:picMk id="32" creationId="{829496D6-B0EF-47CA-BEAA-9C80CC387E6C}"/>
          </ac:picMkLst>
        </pc:picChg>
        <pc:picChg chg="mod">
          <ac:chgData name="Peter" userId="0f9f04bc-ec60-4337-914d-b29f40e6ede0" providerId="ADAL" clId="{E9FDDE36-7A44-41F2-8BD8-FD5B25BA2BCB}" dt="2020-03-18T09:30:10.470" v="22" actId="1076"/>
          <ac:picMkLst>
            <pc:docMk/>
            <pc:sldMk cId="2196778977" sldId="264"/>
            <ac:picMk id="35" creationId="{B0C2B09E-1DCF-438E-9B92-F3059F495E26}"/>
          </ac:picMkLst>
        </pc:picChg>
        <pc:picChg chg="mod">
          <ac:chgData name="Peter" userId="0f9f04bc-ec60-4337-914d-b29f40e6ede0" providerId="ADAL" clId="{E9FDDE36-7A44-41F2-8BD8-FD5B25BA2BCB}" dt="2020-03-18T09:30:12.087" v="23" actId="1076"/>
          <ac:picMkLst>
            <pc:docMk/>
            <pc:sldMk cId="2196778977" sldId="264"/>
            <ac:picMk id="54" creationId="{E2C4B76C-2B56-426E-8E0F-B30D59D14ED5}"/>
          </ac:picMkLst>
        </pc:picChg>
        <pc:picChg chg="mod">
          <ac:chgData name="Peter" userId="0f9f04bc-ec60-4337-914d-b29f40e6ede0" providerId="ADAL" clId="{E9FDDE36-7A44-41F2-8BD8-FD5B25BA2BCB}" dt="2020-03-18T09:30:17.182" v="25" actId="1076"/>
          <ac:picMkLst>
            <pc:docMk/>
            <pc:sldMk cId="2196778977" sldId="264"/>
            <ac:picMk id="59" creationId="{82537FBC-D2AE-427C-A707-6522EA22811A}"/>
          </ac:picMkLst>
        </pc:picChg>
        <pc:picChg chg="mod">
          <ac:chgData name="Peter" userId="0f9f04bc-ec60-4337-914d-b29f40e6ede0" providerId="ADAL" clId="{E9FDDE36-7A44-41F2-8BD8-FD5B25BA2BCB}" dt="2020-03-18T09:30:19.018" v="26" actId="1076"/>
          <ac:picMkLst>
            <pc:docMk/>
            <pc:sldMk cId="2196778977" sldId="264"/>
            <ac:picMk id="60" creationId="{F0EAECFB-A871-471F-BF5A-50DD2AB4BC15}"/>
          </ac:picMkLst>
        </pc:picChg>
      </pc:sldChg>
      <pc:sldChg chg="addSp delSp modSp">
        <pc:chgData name="Peter" userId="0f9f04bc-ec60-4337-914d-b29f40e6ede0" providerId="ADAL" clId="{E9FDDE36-7A44-41F2-8BD8-FD5B25BA2BCB}" dt="2020-03-18T09:32:59.058" v="31" actId="1076"/>
        <pc:sldMkLst>
          <pc:docMk/>
          <pc:sldMk cId="1157444681" sldId="703"/>
        </pc:sldMkLst>
        <pc:picChg chg="del">
          <ac:chgData name="Peter" userId="0f9f04bc-ec60-4337-914d-b29f40e6ede0" providerId="ADAL" clId="{E9FDDE36-7A44-41F2-8BD8-FD5B25BA2BCB}" dt="2020-03-18T09:32:45.113" v="27" actId="478"/>
          <ac:picMkLst>
            <pc:docMk/>
            <pc:sldMk cId="1157444681" sldId="703"/>
            <ac:picMk id="2" creationId="{B49C6711-BCF2-4EF1-A5F7-D674999E0D43}"/>
          </ac:picMkLst>
        </pc:picChg>
        <pc:picChg chg="add mod">
          <ac:chgData name="Peter" userId="0f9f04bc-ec60-4337-914d-b29f40e6ede0" providerId="ADAL" clId="{E9FDDE36-7A44-41F2-8BD8-FD5B25BA2BCB}" dt="2020-03-18T09:32:59.058" v="31" actId="1076"/>
          <ac:picMkLst>
            <pc:docMk/>
            <pc:sldMk cId="1157444681" sldId="703"/>
            <ac:picMk id="3" creationId="{C5FE55F5-EFF7-443E-B957-7D9C424FF95D}"/>
          </ac:picMkLst>
        </pc:picChg>
      </pc:sldChg>
    </pc:docChg>
  </pc:docChgLst>
  <pc:docChgLst>
    <pc:chgData name="Peter Jankovsky" userId="0f9f04bc-ec60-4337-914d-b29f40e6ede0" providerId="ADAL" clId="{0B6F5D0C-79D0-4FE3-A7DE-8308EA74EB2A}"/>
    <pc:docChg chg="undo modSld">
      <pc:chgData name="Peter Jankovsky" userId="0f9f04bc-ec60-4337-914d-b29f40e6ede0" providerId="ADAL" clId="{0B6F5D0C-79D0-4FE3-A7DE-8308EA74EB2A}" dt="2019-09-16T06:47:37.917" v="24" actId="1076"/>
      <pc:docMkLst>
        <pc:docMk/>
      </pc:docMkLst>
      <pc:sldChg chg="addSp modSp">
        <pc:chgData name="Peter Jankovsky" userId="0f9f04bc-ec60-4337-914d-b29f40e6ede0" providerId="ADAL" clId="{0B6F5D0C-79D0-4FE3-A7DE-8308EA74EB2A}" dt="2019-09-16T06:46:36.830" v="5" actId="1076"/>
        <pc:sldMkLst>
          <pc:docMk/>
          <pc:sldMk cId="4120783338" sldId="263"/>
        </pc:sldMkLst>
        <pc:picChg chg="add mod">
          <ac:chgData name="Peter Jankovsky" userId="0f9f04bc-ec60-4337-914d-b29f40e6ede0" providerId="ADAL" clId="{0B6F5D0C-79D0-4FE3-A7DE-8308EA74EB2A}" dt="2019-09-16T06:46:26.731" v="1" actId="1076"/>
          <ac:picMkLst>
            <pc:docMk/>
            <pc:sldMk cId="4120783338" sldId="263"/>
            <ac:picMk id="11" creationId="{AB2B3EF7-A912-4676-B69C-2721B358E228}"/>
          </ac:picMkLst>
        </pc:picChg>
        <pc:picChg chg="mod">
          <ac:chgData name="Peter Jankovsky" userId="0f9f04bc-ec60-4337-914d-b29f40e6ede0" providerId="ADAL" clId="{0B6F5D0C-79D0-4FE3-A7DE-8308EA74EB2A}" dt="2019-09-16T06:46:36.830" v="5" actId="1076"/>
          <ac:picMkLst>
            <pc:docMk/>
            <pc:sldMk cId="4120783338" sldId="263"/>
            <ac:picMk id="62" creationId="{7E34EDAB-02FE-4A74-91B4-EB0936B85695}"/>
          </ac:picMkLst>
        </pc:picChg>
        <pc:picChg chg="mod">
          <ac:chgData name="Peter Jankovsky" userId="0f9f04bc-ec60-4337-914d-b29f40e6ede0" providerId="ADAL" clId="{0B6F5D0C-79D0-4FE3-A7DE-8308EA74EB2A}" dt="2019-09-16T06:46:29.020" v="2" actId="1076"/>
          <ac:picMkLst>
            <pc:docMk/>
            <pc:sldMk cId="4120783338" sldId="263"/>
            <ac:picMk id="64" creationId="{7539E57E-E53B-4BFD-AD44-94C4B6133120}"/>
          </ac:picMkLst>
        </pc:picChg>
        <pc:picChg chg="mod">
          <ac:chgData name="Peter Jankovsky" userId="0f9f04bc-ec60-4337-914d-b29f40e6ede0" providerId="ADAL" clId="{0B6F5D0C-79D0-4FE3-A7DE-8308EA74EB2A}" dt="2019-09-16T06:46:34.562" v="4" actId="1076"/>
          <ac:picMkLst>
            <pc:docMk/>
            <pc:sldMk cId="4120783338" sldId="263"/>
            <ac:picMk id="66" creationId="{949F6F06-95B1-45F8-B275-132F34AB4FA2}"/>
          </ac:picMkLst>
        </pc:picChg>
      </pc:sldChg>
      <pc:sldChg chg="addSp delSp modSp">
        <pc:chgData name="Peter Jankovsky" userId="0f9f04bc-ec60-4337-914d-b29f40e6ede0" providerId="ADAL" clId="{0B6F5D0C-79D0-4FE3-A7DE-8308EA74EB2A}" dt="2019-09-16T06:47:37.917" v="24" actId="1076"/>
        <pc:sldMkLst>
          <pc:docMk/>
          <pc:sldMk cId="2196778977" sldId="264"/>
        </pc:sldMkLst>
        <pc:picChg chg="mod">
          <ac:chgData name="Peter Jankovsky" userId="0f9f04bc-ec60-4337-914d-b29f40e6ede0" providerId="ADAL" clId="{0B6F5D0C-79D0-4FE3-A7DE-8308EA74EB2A}" dt="2019-09-16T06:47:18.923" v="17" actId="1076"/>
          <ac:picMkLst>
            <pc:docMk/>
            <pc:sldMk cId="2196778977" sldId="264"/>
            <ac:picMk id="29" creationId="{FDA4064B-5DAF-414A-8A7D-7DED39ACFD05}"/>
          </ac:picMkLst>
        </pc:picChg>
        <pc:picChg chg="mod">
          <ac:chgData name="Peter Jankovsky" userId="0f9f04bc-ec60-4337-914d-b29f40e6ede0" providerId="ADAL" clId="{0B6F5D0C-79D0-4FE3-A7DE-8308EA74EB2A}" dt="2019-09-16T06:47:17.914" v="15" actId="1076"/>
          <ac:picMkLst>
            <pc:docMk/>
            <pc:sldMk cId="2196778977" sldId="264"/>
            <ac:picMk id="31" creationId="{970CCB0F-C862-44F6-AEDB-9A5D2E206364}"/>
          </ac:picMkLst>
        </pc:picChg>
        <pc:picChg chg="mod">
          <ac:chgData name="Peter Jankovsky" userId="0f9f04bc-ec60-4337-914d-b29f40e6ede0" providerId="ADAL" clId="{0B6F5D0C-79D0-4FE3-A7DE-8308EA74EB2A}" dt="2019-09-16T06:47:17.538" v="14" actId="1076"/>
          <ac:picMkLst>
            <pc:docMk/>
            <pc:sldMk cId="2196778977" sldId="264"/>
            <ac:picMk id="32" creationId="{829496D6-B0EF-47CA-BEAA-9C80CC387E6C}"/>
          </ac:picMkLst>
        </pc:picChg>
        <pc:picChg chg="mod">
          <ac:chgData name="Peter Jankovsky" userId="0f9f04bc-ec60-4337-914d-b29f40e6ede0" providerId="ADAL" clId="{0B6F5D0C-79D0-4FE3-A7DE-8308EA74EB2A}" dt="2019-09-16T06:47:27.465" v="21" actId="1076"/>
          <ac:picMkLst>
            <pc:docMk/>
            <pc:sldMk cId="2196778977" sldId="264"/>
            <ac:picMk id="42" creationId="{BA2F7309-5301-4B0A-BC61-72C8A9793B98}"/>
          </ac:picMkLst>
        </pc:picChg>
        <pc:picChg chg="mod">
          <ac:chgData name="Peter Jankovsky" userId="0f9f04bc-ec60-4337-914d-b29f40e6ede0" providerId="ADAL" clId="{0B6F5D0C-79D0-4FE3-A7DE-8308EA74EB2A}" dt="2019-09-16T06:47:34.060" v="23" actId="1076"/>
          <ac:picMkLst>
            <pc:docMk/>
            <pc:sldMk cId="2196778977" sldId="264"/>
            <ac:picMk id="43" creationId="{50C09DBE-0278-46DC-B8E6-4BFD59F827B6}"/>
          </ac:picMkLst>
        </pc:picChg>
        <pc:picChg chg="mod">
          <ac:chgData name="Peter Jankovsky" userId="0f9f04bc-ec60-4337-914d-b29f40e6ede0" providerId="ADAL" clId="{0B6F5D0C-79D0-4FE3-A7DE-8308EA74EB2A}" dt="2019-09-16T06:47:19.436" v="18" actId="1076"/>
          <ac:picMkLst>
            <pc:docMk/>
            <pc:sldMk cId="2196778977" sldId="264"/>
            <ac:picMk id="54" creationId="{E2C4B76C-2B56-426E-8E0F-B30D59D14ED5}"/>
          </ac:picMkLst>
        </pc:picChg>
        <pc:picChg chg="mod">
          <ac:chgData name="Peter Jankovsky" userId="0f9f04bc-ec60-4337-914d-b29f40e6ede0" providerId="ADAL" clId="{0B6F5D0C-79D0-4FE3-A7DE-8308EA74EB2A}" dt="2019-09-16T06:47:37.917" v="24" actId="1076"/>
          <ac:picMkLst>
            <pc:docMk/>
            <pc:sldMk cId="2196778977" sldId="264"/>
            <ac:picMk id="57" creationId="{055D46EF-2DCF-4B24-A12E-73344B19A56D}"/>
          </ac:picMkLst>
        </pc:picChg>
        <pc:picChg chg="mod">
          <ac:chgData name="Peter Jankovsky" userId="0f9f04bc-ec60-4337-914d-b29f40e6ede0" providerId="ADAL" clId="{0B6F5D0C-79D0-4FE3-A7DE-8308EA74EB2A}" dt="2019-09-16T06:47:17.294" v="13" actId="1076"/>
          <ac:picMkLst>
            <pc:docMk/>
            <pc:sldMk cId="2196778977" sldId="264"/>
            <ac:picMk id="59" creationId="{82537FBC-D2AE-427C-A707-6522EA22811A}"/>
          </ac:picMkLst>
        </pc:picChg>
        <pc:picChg chg="mod">
          <ac:chgData name="Peter Jankovsky" userId="0f9f04bc-ec60-4337-914d-b29f40e6ede0" providerId="ADAL" clId="{0B6F5D0C-79D0-4FE3-A7DE-8308EA74EB2A}" dt="2019-09-16T06:47:18.328" v="16" actId="1076"/>
          <ac:picMkLst>
            <pc:docMk/>
            <pc:sldMk cId="2196778977" sldId="264"/>
            <ac:picMk id="60" creationId="{F0EAECFB-A871-471F-BF5A-50DD2AB4BC15}"/>
          </ac:picMkLst>
        </pc:picChg>
        <pc:picChg chg="add del">
          <ac:chgData name="Peter Jankovsky" userId="0f9f04bc-ec60-4337-914d-b29f40e6ede0" providerId="ADAL" clId="{0B6F5D0C-79D0-4FE3-A7DE-8308EA74EB2A}" dt="2019-09-16T06:47:19.998" v="19"/>
          <ac:picMkLst>
            <pc:docMk/>
            <pc:sldMk cId="2196778977" sldId="264"/>
            <ac:picMk id="61" creationId="{CB37446B-DB5B-42E8-B078-AB4D7FC0D5C3}"/>
          </ac:picMkLst>
        </pc:picChg>
        <pc:picChg chg="add mod">
          <ac:chgData name="Peter Jankovsky" userId="0f9f04bc-ec60-4337-914d-b29f40e6ede0" providerId="ADAL" clId="{0B6F5D0C-79D0-4FE3-A7DE-8308EA74EB2A}" dt="2019-09-16T06:47:31.308" v="22" actId="1076"/>
          <ac:picMkLst>
            <pc:docMk/>
            <pc:sldMk cId="2196778977" sldId="264"/>
            <ac:picMk id="62" creationId="{9F2EE2E5-431A-49B3-A376-D801086EC198}"/>
          </ac:picMkLst>
        </pc:picChg>
      </pc:sldChg>
    </pc:docChg>
  </pc:docChgLst>
  <pc:docChgLst>
    <pc:chgData name="Peter Jankovský" userId="0f9f04bc-ec60-4337-914d-b29f40e6ede0" providerId="ADAL" clId="{4EB2B87E-62B9-4F73-9D61-D374B0A9A405}"/>
    <pc:docChg chg="modSld">
      <pc:chgData name="Peter Jankovský" userId="0f9f04bc-ec60-4337-914d-b29f40e6ede0" providerId="ADAL" clId="{4EB2B87E-62B9-4F73-9D61-D374B0A9A405}" dt="2020-04-28T06:54:47.226" v="0" actId="729"/>
      <pc:docMkLst>
        <pc:docMk/>
      </pc:docMkLst>
      <pc:sldChg chg="mod modShow">
        <pc:chgData name="Peter Jankovský" userId="0f9f04bc-ec60-4337-914d-b29f40e6ede0" providerId="ADAL" clId="{4EB2B87E-62B9-4F73-9D61-D374B0A9A405}" dt="2020-04-28T06:54:47.226" v="0" actId="729"/>
        <pc:sldMkLst>
          <pc:docMk/>
          <pc:sldMk cId="3369909642" sldId="700"/>
        </pc:sldMkLst>
      </pc:sldChg>
    </pc:docChg>
  </pc:docChgLst>
  <pc:docChgLst>
    <pc:chgData name="Peter Jankovský" userId="0f9f04bc-ec60-4337-914d-b29f40e6ede0" providerId="ADAL" clId="{92727339-4C3D-4AF6-99D1-BF6E6A1A9621}"/>
    <pc:docChg chg="undo custSel addSld modSld">
      <pc:chgData name="Peter Jankovský" userId="0f9f04bc-ec60-4337-914d-b29f40e6ede0" providerId="ADAL" clId="{92727339-4C3D-4AF6-99D1-BF6E6A1A9621}" dt="2019-07-25T09:03:23.514" v="469" actId="20577"/>
      <pc:docMkLst>
        <pc:docMk/>
      </pc:docMkLst>
      <pc:sldChg chg="addSp delSp modSp add">
        <pc:chgData name="Peter Jankovský" userId="0f9f04bc-ec60-4337-914d-b29f40e6ede0" providerId="ADAL" clId="{92727339-4C3D-4AF6-99D1-BF6E6A1A9621}" dt="2019-07-25T09:03:23.514" v="469" actId="20577"/>
        <pc:sldMkLst>
          <pc:docMk/>
          <pc:sldMk cId="3369909642" sldId="700"/>
        </pc:sldMkLst>
        <pc:spChg chg="mod">
          <ac:chgData name="Peter Jankovský" userId="0f9f04bc-ec60-4337-914d-b29f40e6ede0" providerId="ADAL" clId="{92727339-4C3D-4AF6-99D1-BF6E6A1A9621}" dt="2019-07-25T08:59:44.558" v="276" actId="790"/>
          <ac:spMkLst>
            <pc:docMk/>
            <pc:sldMk cId="3369909642" sldId="700"/>
            <ac:spMk id="2" creationId="{7D077AE9-556C-4D38-A390-6794D5BBB2BA}"/>
          </ac:spMkLst>
        </pc:spChg>
        <pc:spChg chg="mod">
          <ac:chgData name="Peter Jankovský" userId="0f9f04bc-ec60-4337-914d-b29f40e6ede0" providerId="ADAL" clId="{92727339-4C3D-4AF6-99D1-BF6E6A1A9621}" dt="2019-07-25T09:03:23.514" v="469" actId="20577"/>
          <ac:spMkLst>
            <pc:docMk/>
            <pc:sldMk cId="3369909642" sldId="700"/>
            <ac:spMk id="3" creationId="{C5527264-5F30-4B2B-8A13-36059081DD67}"/>
          </ac:spMkLst>
        </pc:spChg>
        <pc:spChg chg="del">
          <ac:chgData name="Peter Jankovský" userId="0f9f04bc-ec60-4337-914d-b29f40e6ede0" providerId="ADAL" clId="{92727339-4C3D-4AF6-99D1-BF6E6A1A9621}" dt="2019-07-25T08:49:12.957" v="26" actId="478"/>
          <ac:spMkLst>
            <pc:docMk/>
            <pc:sldMk cId="3369909642" sldId="700"/>
            <ac:spMk id="4" creationId="{59BADDB2-5FB5-481F-8869-12E318CA80C6}"/>
          </ac:spMkLst>
        </pc:spChg>
        <pc:spChg chg="add mod">
          <ac:chgData name="Peter Jankovský" userId="0f9f04bc-ec60-4337-914d-b29f40e6ede0" providerId="ADAL" clId="{92727339-4C3D-4AF6-99D1-BF6E6A1A9621}" dt="2019-07-25T09:02:26.856" v="436" actId="207"/>
          <ac:spMkLst>
            <pc:docMk/>
            <pc:sldMk cId="3369909642" sldId="700"/>
            <ac:spMk id="4" creationId="{9AB37C28-7A39-438B-A399-5CC738A1C302}"/>
          </ac:spMkLst>
        </pc:spChg>
        <pc:picChg chg="add mod">
          <ac:chgData name="Peter Jankovský" userId="0f9f04bc-ec60-4337-914d-b29f40e6ede0" providerId="ADAL" clId="{92727339-4C3D-4AF6-99D1-BF6E6A1A9621}" dt="2019-07-25T09:01:24.462" v="383" actId="1076"/>
          <ac:picMkLst>
            <pc:docMk/>
            <pc:sldMk cId="3369909642" sldId="700"/>
            <ac:picMk id="1026" creationId="{94FC0632-6692-41B0-8059-937A1FDBDD44}"/>
          </ac:picMkLst>
        </pc:picChg>
      </pc:sldChg>
    </pc:docChg>
  </pc:docChgLst>
  <pc:docChgLst>
    <pc:chgData name="Peter Jankovský" userId="0f9f04bc-ec60-4337-914d-b29f40e6ede0" providerId="ADAL" clId="{CE44B635-925B-44C0-AE9E-281461E4E235}"/>
    <pc:docChg chg="undo custSel modSld">
      <pc:chgData name="Peter Jankovský" userId="0f9f04bc-ec60-4337-914d-b29f40e6ede0" providerId="ADAL" clId="{CE44B635-925B-44C0-AE9E-281461E4E235}" dt="2019-04-29T17:23:04.432" v="221" actId="1076"/>
      <pc:docMkLst>
        <pc:docMk/>
      </pc:docMkLst>
      <pc:sldChg chg="addSp delSp modSp">
        <pc:chgData name="Peter Jankovský" userId="0f9f04bc-ec60-4337-914d-b29f40e6ede0" providerId="ADAL" clId="{CE44B635-925B-44C0-AE9E-281461E4E235}" dt="2019-04-29T17:22:40.596" v="213" actId="1076"/>
        <pc:sldMkLst>
          <pc:docMk/>
          <pc:sldMk cId="4120783338" sldId="263"/>
        </pc:sldMkLst>
        <pc:picChg chg="add mod">
          <ac:chgData name="Peter Jankovský" userId="0f9f04bc-ec60-4337-914d-b29f40e6ede0" providerId="ADAL" clId="{CE44B635-925B-44C0-AE9E-281461E4E235}" dt="2019-04-29T17:07:38.657" v="62" actId="1076"/>
          <ac:picMkLst>
            <pc:docMk/>
            <pc:sldMk cId="4120783338" sldId="263"/>
            <ac:picMk id="2" creationId="{8E9CC135-059A-4F23-9E54-8DF8B0B02A2C}"/>
          </ac:picMkLst>
        </pc:picChg>
        <pc:picChg chg="mod">
          <ac:chgData name="Peter Jankovský" userId="0f9f04bc-ec60-4337-914d-b29f40e6ede0" providerId="ADAL" clId="{CE44B635-925B-44C0-AE9E-281461E4E235}" dt="2019-04-29T17:09:48.884" v="97" actId="1076"/>
          <ac:picMkLst>
            <pc:docMk/>
            <pc:sldMk cId="4120783338" sldId="263"/>
            <ac:picMk id="4" creationId="{94143C65-4249-4FE2-801B-02359B067C4E}"/>
          </ac:picMkLst>
        </pc:picChg>
        <pc:picChg chg="add del mod">
          <ac:chgData name="Peter Jankovský" userId="0f9f04bc-ec60-4337-914d-b29f40e6ede0" providerId="ADAL" clId="{CE44B635-925B-44C0-AE9E-281461E4E235}" dt="2019-04-29T15:27:49.008" v="40"/>
          <ac:picMkLst>
            <pc:docMk/>
            <pc:sldMk cId="4120783338" sldId="263"/>
            <ac:picMk id="11" creationId="{762F35B8-228B-4A43-BD75-058C2C408691}"/>
          </ac:picMkLst>
        </pc:picChg>
        <pc:picChg chg="del">
          <ac:chgData name="Peter Jankovský" userId="0f9f04bc-ec60-4337-914d-b29f40e6ede0" providerId="ADAL" clId="{CE44B635-925B-44C0-AE9E-281461E4E235}" dt="2019-04-29T17:08:51.955" v="80" actId="478"/>
          <ac:picMkLst>
            <pc:docMk/>
            <pc:sldMk cId="4120783338" sldId="263"/>
            <ac:picMk id="12" creationId="{8BD89651-8B90-48CB-ADFD-8E72ABD2E8C3}"/>
          </ac:picMkLst>
        </pc:picChg>
        <pc:picChg chg="add del">
          <ac:chgData name="Peter Jankovský" userId="0f9f04bc-ec60-4337-914d-b29f40e6ede0" providerId="ADAL" clId="{CE44B635-925B-44C0-AE9E-281461E4E235}" dt="2019-04-29T15:24:14.480" v="8"/>
          <ac:picMkLst>
            <pc:docMk/>
            <pc:sldMk cId="4120783338" sldId="263"/>
            <ac:picMk id="13" creationId="{AE70F48B-1D22-417E-9278-2A9BE7D6D935}"/>
          </ac:picMkLst>
        </pc:picChg>
        <pc:picChg chg="add del mod">
          <ac:chgData name="Peter Jankovský" userId="0f9f04bc-ec60-4337-914d-b29f40e6ede0" providerId="ADAL" clId="{CE44B635-925B-44C0-AE9E-281461E4E235}" dt="2019-04-29T15:27:53.172" v="41"/>
          <ac:picMkLst>
            <pc:docMk/>
            <pc:sldMk cId="4120783338" sldId="263"/>
            <ac:picMk id="14" creationId="{F2DEB9DA-744B-4120-845C-B26B4A9C9490}"/>
          </ac:picMkLst>
        </pc:picChg>
        <pc:picChg chg="add mod">
          <ac:chgData name="Peter Jankovský" userId="0f9f04bc-ec60-4337-914d-b29f40e6ede0" providerId="ADAL" clId="{CE44B635-925B-44C0-AE9E-281461E4E235}" dt="2019-04-29T17:09:32.989" v="92" actId="1076"/>
          <ac:picMkLst>
            <pc:docMk/>
            <pc:sldMk cId="4120783338" sldId="263"/>
            <ac:picMk id="15" creationId="{249BF5AF-9943-4EB3-8AB1-3F18AB995826}"/>
          </ac:picMkLst>
        </pc:picChg>
        <pc:picChg chg="add mod">
          <ac:chgData name="Peter Jankovský" userId="0f9f04bc-ec60-4337-914d-b29f40e6ede0" providerId="ADAL" clId="{CE44B635-925B-44C0-AE9E-281461E4E235}" dt="2019-04-29T17:09:09.281" v="84" actId="1076"/>
          <ac:picMkLst>
            <pc:docMk/>
            <pc:sldMk cId="4120783338" sldId="263"/>
            <ac:picMk id="16" creationId="{0595020B-403A-4C0F-A5E0-5E3A5850BE7A}"/>
          </ac:picMkLst>
        </pc:picChg>
        <pc:picChg chg="mod">
          <ac:chgData name="Peter Jankovský" userId="0f9f04bc-ec60-4337-914d-b29f40e6ede0" providerId="ADAL" clId="{CE44B635-925B-44C0-AE9E-281461E4E235}" dt="2019-04-29T17:08:33.724" v="78" actId="1076"/>
          <ac:picMkLst>
            <pc:docMk/>
            <pc:sldMk cId="4120783338" sldId="263"/>
            <ac:picMk id="17" creationId="{A5C2AF6B-1E62-45B0-8C69-0B436D4E3447}"/>
          </ac:picMkLst>
        </pc:picChg>
        <pc:picChg chg="add del mod">
          <ac:chgData name="Peter Jankovský" userId="0f9f04bc-ec60-4337-914d-b29f40e6ede0" providerId="ADAL" clId="{CE44B635-925B-44C0-AE9E-281461E4E235}" dt="2019-04-29T17:07:11.956" v="58" actId="478"/>
          <ac:picMkLst>
            <pc:docMk/>
            <pc:sldMk cId="4120783338" sldId="263"/>
            <ac:picMk id="19" creationId="{FE86091D-1089-4A2D-98B8-CAB32676EB65}"/>
          </ac:picMkLst>
        </pc:picChg>
        <pc:picChg chg="add mod">
          <ac:chgData name="Peter Jankovský" userId="0f9f04bc-ec60-4337-914d-b29f40e6ede0" providerId="ADAL" clId="{CE44B635-925B-44C0-AE9E-281461E4E235}" dt="2019-04-29T17:08:02.180" v="71" actId="14100"/>
          <ac:picMkLst>
            <pc:docMk/>
            <pc:sldMk cId="4120783338" sldId="263"/>
            <ac:picMk id="20" creationId="{B816ACE9-98B4-49A1-B210-56A82F246BE2}"/>
          </ac:picMkLst>
        </pc:picChg>
        <pc:picChg chg="add mod">
          <ac:chgData name="Peter Jankovský" userId="0f9f04bc-ec60-4337-914d-b29f40e6ede0" providerId="ADAL" clId="{CE44B635-925B-44C0-AE9E-281461E4E235}" dt="2019-04-29T17:22:30.901" v="210" actId="1076"/>
          <ac:picMkLst>
            <pc:docMk/>
            <pc:sldMk cId="4120783338" sldId="263"/>
            <ac:picMk id="21" creationId="{B9FF3EFB-60E7-48B6-AF15-5F4CB8668B41}"/>
          </ac:picMkLst>
        </pc:picChg>
        <pc:picChg chg="mod">
          <ac:chgData name="Peter Jankovský" userId="0f9f04bc-ec60-4337-914d-b29f40e6ede0" providerId="ADAL" clId="{CE44B635-925B-44C0-AE9E-281461E4E235}" dt="2019-04-29T17:09:13.332" v="86" actId="1076"/>
          <ac:picMkLst>
            <pc:docMk/>
            <pc:sldMk cId="4120783338" sldId="263"/>
            <ac:picMk id="41" creationId="{B277B24A-0699-4E2C-B22B-A57393B55C35}"/>
          </ac:picMkLst>
        </pc:picChg>
        <pc:picChg chg="mod">
          <ac:chgData name="Peter Jankovský" userId="0f9f04bc-ec60-4337-914d-b29f40e6ede0" providerId="ADAL" clId="{CE44B635-925B-44C0-AE9E-281461E4E235}" dt="2019-04-29T17:07:49.448" v="65" actId="1076"/>
          <ac:picMkLst>
            <pc:docMk/>
            <pc:sldMk cId="4120783338" sldId="263"/>
            <ac:picMk id="48" creationId="{238EC86D-AA98-49F4-AE31-4DD11781D508}"/>
          </ac:picMkLst>
        </pc:picChg>
        <pc:picChg chg="mod">
          <ac:chgData name="Peter Jankovský" userId="0f9f04bc-ec60-4337-914d-b29f40e6ede0" providerId="ADAL" clId="{CE44B635-925B-44C0-AE9E-281461E4E235}" dt="2019-04-29T17:07:43.121" v="63" actId="1076"/>
          <ac:picMkLst>
            <pc:docMk/>
            <pc:sldMk cId="4120783338" sldId="263"/>
            <ac:picMk id="49" creationId="{D90E0985-FCE2-48F5-ACD3-61B14EF15546}"/>
          </ac:picMkLst>
        </pc:picChg>
        <pc:picChg chg="mod">
          <ac:chgData name="Peter Jankovský" userId="0f9f04bc-ec60-4337-914d-b29f40e6ede0" providerId="ADAL" clId="{CE44B635-925B-44C0-AE9E-281461E4E235}" dt="2019-04-29T17:07:56.003" v="69" actId="1076"/>
          <ac:picMkLst>
            <pc:docMk/>
            <pc:sldMk cId="4120783338" sldId="263"/>
            <ac:picMk id="50" creationId="{4866919D-3B01-47EB-9F1D-B419E93C9F6F}"/>
          </ac:picMkLst>
        </pc:picChg>
        <pc:picChg chg="mod">
          <ac:chgData name="Peter Jankovský" userId="0f9f04bc-ec60-4337-914d-b29f40e6ede0" providerId="ADAL" clId="{CE44B635-925B-44C0-AE9E-281461E4E235}" dt="2019-04-29T17:08:05.533" v="72" actId="1076"/>
          <ac:picMkLst>
            <pc:docMk/>
            <pc:sldMk cId="4120783338" sldId="263"/>
            <ac:picMk id="53" creationId="{4E35D07C-B667-4F8E-B670-3AA181C7A355}"/>
          </ac:picMkLst>
        </pc:picChg>
        <pc:picChg chg="mod">
          <ac:chgData name="Peter Jankovský" userId="0f9f04bc-ec60-4337-914d-b29f40e6ede0" providerId="ADAL" clId="{CE44B635-925B-44C0-AE9E-281461E4E235}" dt="2019-04-29T17:07:36.741" v="61" actId="1076"/>
          <ac:picMkLst>
            <pc:docMk/>
            <pc:sldMk cId="4120783338" sldId="263"/>
            <ac:picMk id="54" creationId="{52C30A46-484C-4E8A-A4C4-9F664CDBBFA2}"/>
          </ac:picMkLst>
        </pc:picChg>
        <pc:picChg chg="mod">
          <ac:chgData name="Peter Jankovský" userId="0f9f04bc-ec60-4337-914d-b29f40e6ede0" providerId="ADAL" clId="{CE44B635-925B-44C0-AE9E-281461E4E235}" dt="2019-04-29T17:08:07.540" v="73" actId="1076"/>
          <ac:picMkLst>
            <pc:docMk/>
            <pc:sldMk cId="4120783338" sldId="263"/>
            <ac:picMk id="57" creationId="{234E0BA8-AB32-4D9A-A71F-7201B392849E}"/>
          </ac:picMkLst>
        </pc:picChg>
        <pc:picChg chg="mod">
          <ac:chgData name="Peter Jankovský" userId="0f9f04bc-ec60-4337-914d-b29f40e6ede0" providerId="ADAL" clId="{CE44B635-925B-44C0-AE9E-281461E4E235}" dt="2019-04-29T17:22:34.420" v="211" actId="1076"/>
          <ac:picMkLst>
            <pc:docMk/>
            <pc:sldMk cId="4120783338" sldId="263"/>
            <ac:picMk id="60" creationId="{4EA28537-FDC0-4670-A9DB-90AF599D877C}"/>
          </ac:picMkLst>
        </pc:picChg>
        <pc:picChg chg="mod">
          <ac:chgData name="Peter Jankovský" userId="0f9f04bc-ec60-4337-914d-b29f40e6ede0" providerId="ADAL" clId="{CE44B635-925B-44C0-AE9E-281461E4E235}" dt="2019-04-29T17:22:26.108" v="207" actId="1076"/>
          <ac:picMkLst>
            <pc:docMk/>
            <pc:sldMk cId="4120783338" sldId="263"/>
            <ac:picMk id="61" creationId="{F57DE63A-ED89-43E6-AC5C-3E196F590821}"/>
          </ac:picMkLst>
        </pc:picChg>
        <pc:picChg chg="mod">
          <ac:chgData name="Peter Jankovský" userId="0f9f04bc-ec60-4337-914d-b29f40e6ede0" providerId="ADAL" clId="{CE44B635-925B-44C0-AE9E-281461E4E235}" dt="2019-04-29T17:22:38.909" v="212" actId="1076"/>
          <ac:picMkLst>
            <pc:docMk/>
            <pc:sldMk cId="4120783338" sldId="263"/>
            <ac:picMk id="67" creationId="{6D98B6D1-E202-4F91-8CB2-37827BE4B938}"/>
          </ac:picMkLst>
        </pc:picChg>
        <pc:picChg chg="ord">
          <ac:chgData name="Peter Jankovský" userId="0f9f04bc-ec60-4337-914d-b29f40e6ede0" providerId="ADAL" clId="{CE44B635-925B-44C0-AE9E-281461E4E235}" dt="2019-04-29T12:58:28.319" v="0" actId="166"/>
          <ac:picMkLst>
            <pc:docMk/>
            <pc:sldMk cId="4120783338" sldId="263"/>
            <ac:picMk id="70" creationId="{AF9FDF2A-D656-40CB-9055-1A08AFB6ED29}"/>
          </ac:picMkLst>
        </pc:picChg>
        <pc:picChg chg="mod">
          <ac:chgData name="Peter Jankovský" userId="0f9f04bc-ec60-4337-914d-b29f40e6ede0" providerId="ADAL" clId="{CE44B635-925B-44C0-AE9E-281461E4E235}" dt="2019-04-29T17:09:46.163" v="96" actId="1076"/>
          <ac:picMkLst>
            <pc:docMk/>
            <pc:sldMk cId="4120783338" sldId="263"/>
            <ac:picMk id="71" creationId="{22C2E14A-C95F-4282-B70C-0A7EE41B0029}"/>
          </ac:picMkLst>
        </pc:picChg>
        <pc:picChg chg="mod">
          <ac:chgData name="Peter Jankovský" userId="0f9f04bc-ec60-4337-914d-b29f40e6ede0" providerId="ADAL" clId="{CE44B635-925B-44C0-AE9E-281461E4E235}" dt="2019-04-29T17:09:41.091" v="94" actId="1076"/>
          <ac:picMkLst>
            <pc:docMk/>
            <pc:sldMk cId="4120783338" sldId="263"/>
            <ac:picMk id="73" creationId="{ACDDF92C-8B84-41E5-820A-899B9B8467C6}"/>
          </ac:picMkLst>
        </pc:picChg>
        <pc:picChg chg="mod">
          <ac:chgData name="Peter Jankovský" userId="0f9f04bc-ec60-4337-914d-b29f40e6ede0" providerId="ADAL" clId="{CE44B635-925B-44C0-AE9E-281461E4E235}" dt="2019-04-29T17:09:28.321" v="90" actId="1076"/>
          <ac:picMkLst>
            <pc:docMk/>
            <pc:sldMk cId="4120783338" sldId="263"/>
            <ac:picMk id="74" creationId="{542A407B-15AD-4A40-931F-245329D076C1}"/>
          </ac:picMkLst>
        </pc:picChg>
        <pc:picChg chg="mod">
          <ac:chgData name="Peter Jankovský" userId="0f9f04bc-ec60-4337-914d-b29f40e6ede0" providerId="ADAL" clId="{CE44B635-925B-44C0-AE9E-281461E4E235}" dt="2019-04-29T17:09:38.376" v="93" actId="1076"/>
          <ac:picMkLst>
            <pc:docMk/>
            <pc:sldMk cId="4120783338" sldId="263"/>
            <ac:picMk id="75" creationId="{BFDFA6D7-C526-4B72-B5F0-F8C7FE7CEEDB}"/>
          </ac:picMkLst>
        </pc:picChg>
        <pc:picChg chg="mod">
          <ac:chgData name="Peter Jankovský" userId="0f9f04bc-ec60-4337-914d-b29f40e6ede0" providerId="ADAL" clId="{CE44B635-925B-44C0-AE9E-281461E4E235}" dt="2019-04-29T17:09:16.450" v="87" actId="1076"/>
          <ac:picMkLst>
            <pc:docMk/>
            <pc:sldMk cId="4120783338" sldId="263"/>
            <ac:picMk id="76" creationId="{AA36793E-D83F-4DB5-85D4-B676A61720C9}"/>
          </ac:picMkLst>
        </pc:picChg>
        <pc:picChg chg="add del mod">
          <ac:chgData name="Peter Jankovský" userId="0f9f04bc-ec60-4337-914d-b29f40e6ede0" providerId="ADAL" clId="{CE44B635-925B-44C0-AE9E-281461E4E235}" dt="2019-04-29T17:10:02.725" v="98"/>
          <ac:picMkLst>
            <pc:docMk/>
            <pc:sldMk cId="4120783338" sldId="263"/>
            <ac:picMk id="79" creationId="{678A2519-C03B-43FE-84F6-E87E7E979314}"/>
          </ac:picMkLst>
        </pc:picChg>
        <pc:picChg chg="add del mod">
          <ac:chgData name="Peter Jankovský" userId="0f9f04bc-ec60-4337-914d-b29f40e6ede0" providerId="ADAL" clId="{CE44B635-925B-44C0-AE9E-281461E4E235}" dt="2019-04-29T17:10:02.725" v="98"/>
          <ac:picMkLst>
            <pc:docMk/>
            <pc:sldMk cId="4120783338" sldId="263"/>
            <ac:picMk id="80" creationId="{B50B9814-EB22-4E86-880E-7221E2C6C350}"/>
          </ac:picMkLst>
        </pc:picChg>
        <pc:picChg chg="add del mod">
          <ac:chgData name="Peter Jankovský" userId="0f9f04bc-ec60-4337-914d-b29f40e6ede0" providerId="ADAL" clId="{CE44B635-925B-44C0-AE9E-281461E4E235}" dt="2019-04-29T17:10:02.725" v="98"/>
          <ac:picMkLst>
            <pc:docMk/>
            <pc:sldMk cId="4120783338" sldId="263"/>
            <ac:picMk id="81" creationId="{918B27AB-6D8D-4964-9EAB-B5EA47188811}"/>
          </ac:picMkLst>
        </pc:picChg>
        <pc:picChg chg="add del mod">
          <ac:chgData name="Peter Jankovský" userId="0f9f04bc-ec60-4337-914d-b29f40e6ede0" providerId="ADAL" clId="{CE44B635-925B-44C0-AE9E-281461E4E235}" dt="2019-04-29T17:10:02.725" v="98"/>
          <ac:picMkLst>
            <pc:docMk/>
            <pc:sldMk cId="4120783338" sldId="263"/>
            <ac:picMk id="82" creationId="{8D562BF0-EE46-451B-A8A4-F125011C0B8B}"/>
          </ac:picMkLst>
        </pc:picChg>
        <pc:picChg chg="add del mod">
          <ac:chgData name="Peter Jankovský" userId="0f9f04bc-ec60-4337-914d-b29f40e6ede0" providerId="ADAL" clId="{CE44B635-925B-44C0-AE9E-281461E4E235}" dt="2019-04-29T17:10:02.725" v="98"/>
          <ac:picMkLst>
            <pc:docMk/>
            <pc:sldMk cId="4120783338" sldId="263"/>
            <ac:picMk id="83" creationId="{8A60BC04-AAB2-46AC-8F76-1BB69049247E}"/>
          </ac:picMkLst>
        </pc:picChg>
        <pc:picChg chg="add mod">
          <ac:chgData name="Peter Jankovský" userId="0f9f04bc-ec60-4337-914d-b29f40e6ede0" providerId="ADAL" clId="{CE44B635-925B-44C0-AE9E-281461E4E235}" dt="2019-04-29T17:22:40.596" v="213" actId="1076"/>
          <ac:picMkLst>
            <pc:docMk/>
            <pc:sldMk cId="4120783338" sldId="263"/>
            <ac:picMk id="1026" creationId="{BD671A20-B234-4150-A875-9CAB88FC7366}"/>
          </ac:picMkLst>
        </pc:picChg>
        <pc:picChg chg="add mod">
          <ac:chgData name="Peter Jankovský" userId="0f9f04bc-ec60-4337-914d-b29f40e6ede0" providerId="ADAL" clId="{CE44B635-925B-44C0-AE9E-281461E4E235}" dt="2019-04-29T17:08:53.828" v="81" actId="1076"/>
          <ac:picMkLst>
            <pc:docMk/>
            <pc:sldMk cId="4120783338" sldId="263"/>
            <ac:picMk id="1028" creationId="{1826EFB1-1BED-4A78-A70B-F1DED8256409}"/>
          </ac:picMkLst>
        </pc:picChg>
      </pc:sldChg>
      <pc:sldChg chg="addSp delSp modSp">
        <pc:chgData name="Peter Jankovský" userId="0f9f04bc-ec60-4337-914d-b29f40e6ede0" providerId="ADAL" clId="{CE44B635-925B-44C0-AE9E-281461E4E235}" dt="2019-04-29T17:23:04.432" v="221" actId="1076"/>
        <pc:sldMkLst>
          <pc:docMk/>
          <pc:sldMk cId="2196778977" sldId="264"/>
        </pc:sldMkLst>
        <pc:picChg chg="mod">
          <ac:chgData name="Peter Jankovský" userId="0f9f04bc-ec60-4337-914d-b29f40e6ede0" providerId="ADAL" clId="{CE44B635-925B-44C0-AE9E-281461E4E235}" dt="2019-04-29T17:20:10.947" v="166" actId="1076"/>
          <ac:picMkLst>
            <pc:docMk/>
            <pc:sldMk cId="2196778977" sldId="264"/>
            <ac:picMk id="2" creationId="{4AD0F5D4-0D2F-4B13-8E79-263BEBA8720E}"/>
          </ac:picMkLst>
        </pc:picChg>
        <pc:picChg chg="add mod">
          <ac:chgData name="Peter Jankovský" userId="0f9f04bc-ec60-4337-914d-b29f40e6ede0" providerId="ADAL" clId="{CE44B635-925B-44C0-AE9E-281461E4E235}" dt="2019-04-29T17:22:58.481" v="219" actId="14100"/>
          <ac:picMkLst>
            <pc:docMk/>
            <pc:sldMk cId="2196778977" sldId="264"/>
            <ac:picMk id="4" creationId="{A290C2C3-4964-449D-A168-50B322232292}"/>
          </ac:picMkLst>
        </pc:picChg>
        <pc:picChg chg="mod">
          <ac:chgData name="Peter Jankovský" userId="0f9f04bc-ec60-4337-914d-b29f40e6ede0" providerId="ADAL" clId="{CE44B635-925B-44C0-AE9E-281461E4E235}" dt="2019-04-29T17:11:03.526" v="106" actId="14100"/>
          <ac:picMkLst>
            <pc:docMk/>
            <pc:sldMk cId="2196778977" sldId="264"/>
            <ac:picMk id="11" creationId="{D0B09A01-13AA-4DBB-9AD6-9A940591BB46}"/>
          </ac:picMkLst>
        </pc:picChg>
        <pc:picChg chg="mod">
          <ac:chgData name="Peter Jankovský" userId="0f9f04bc-ec60-4337-914d-b29f40e6ede0" providerId="ADAL" clId="{CE44B635-925B-44C0-AE9E-281461E4E235}" dt="2019-04-29T17:20:49.176" v="194" actId="1076"/>
          <ac:picMkLst>
            <pc:docMk/>
            <pc:sldMk cId="2196778977" sldId="264"/>
            <ac:picMk id="12" creationId="{FC108C2D-C473-4EF5-A446-ABD0512612C3}"/>
          </ac:picMkLst>
        </pc:picChg>
        <pc:picChg chg="mod">
          <ac:chgData name="Peter Jankovský" userId="0f9f04bc-ec60-4337-914d-b29f40e6ede0" providerId="ADAL" clId="{CE44B635-925B-44C0-AE9E-281461E4E235}" dt="2019-04-29T17:19:56.727" v="160" actId="1076"/>
          <ac:picMkLst>
            <pc:docMk/>
            <pc:sldMk cId="2196778977" sldId="264"/>
            <ac:picMk id="13" creationId="{6487BFCB-3946-4B00-BA67-D6BCB73BCC0E}"/>
          </ac:picMkLst>
        </pc:picChg>
        <pc:picChg chg="mod ord">
          <ac:chgData name="Peter Jankovský" userId="0f9f04bc-ec60-4337-914d-b29f40e6ede0" providerId="ADAL" clId="{CE44B635-925B-44C0-AE9E-281461E4E235}" dt="2019-04-29T17:21:09.340" v="200" actId="1076"/>
          <ac:picMkLst>
            <pc:docMk/>
            <pc:sldMk cId="2196778977" sldId="264"/>
            <ac:picMk id="14" creationId="{49B8399E-5C6E-4D2C-B2E9-96074D9F1CF6}"/>
          </ac:picMkLst>
        </pc:picChg>
        <pc:picChg chg="mod ord">
          <ac:chgData name="Peter Jankovský" userId="0f9f04bc-ec60-4337-914d-b29f40e6ede0" providerId="ADAL" clId="{CE44B635-925B-44C0-AE9E-281461E4E235}" dt="2019-04-29T17:21:05.341" v="199" actId="1076"/>
          <ac:picMkLst>
            <pc:docMk/>
            <pc:sldMk cId="2196778977" sldId="264"/>
            <ac:picMk id="15" creationId="{163FE231-7ED9-4943-83B8-FE8EE6DBBEAC}"/>
          </ac:picMkLst>
        </pc:picChg>
        <pc:picChg chg="mod">
          <ac:chgData name="Peter Jankovský" userId="0f9f04bc-ec60-4337-914d-b29f40e6ede0" providerId="ADAL" clId="{CE44B635-925B-44C0-AE9E-281461E4E235}" dt="2019-04-29T17:21:00.897" v="198" actId="1076"/>
          <ac:picMkLst>
            <pc:docMk/>
            <pc:sldMk cId="2196778977" sldId="264"/>
            <ac:picMk id="16" creationId="{1F8021C2-7722-45AC-AEBF-D816B6B2AFE4}"/>
          </ac:picMkLst>
        </pc:picChg>
        <pc:picChg chg="mod">
          <ac:chgData name="Peter Jankovský" userId="0f9f04bc-ec60-4337-914d-b29f40e6ede0" providerId="ADAL" clId="{CE44B635-925B-44C0-AE9E-281461E4E235}" dt="2019-04-29T17:20:46.532" v="193" actId="1076"/>
          <ac:picMkLst>
            <pc:docMk/>
            <pc:sldMk cId="2196778977" sldId="264"/>
            <ac:picMk id="17" creationId="{F853CEA5-A831-4D0A-A0D2-8102ECE15931}"/>
          </ac:picMkLst>
        </pc:picChg>
        <pc:picChg chg="mod">
          <ac:chgData name="Peter Jankovský" userId="0f9f04bc-ec60-4337-914d-b29f40e6ede0" providerId="ADAL" clId="{CE44B635-925B-44C0-AE9E-281461E4E235}" dt="2019-04-29T17:20:05.665" v="164" actId="1076"/>
          <ac:picMkLst>
            <pc:docMk/>
            <pc:sldMk cId="2196778977" sldId="264"/>
            <ac:picMk id="18" creationId="{8BE10DB1-D9E0-4E7C-B0C9-F6B2EF9E5A22}"/>
          </ac:picMkLst>
        </pc:picChg>
        <pc:picChg chg="mod">
          <ac:chgData name="Peter Jankovský" userId="0f9f04bc-ec60-4337-914d-b29f40e6ede0" providerId="ADAL" clId="{CE44B635-925B-44C0-AE9E-281461E4E235}" dt="2019-04-29T17:19:42.616" v="155" actId="1076"/>
          <ac:picMkLst>
            <pc:docMk/>
            <pc:sldMk cId="2196778977" sldId="264"/>
            <ac:picMk id="19" creationId="{66B6AA34-BC81-4C47-9099-951AEF8E426F}"/>
          </ac:picMkLst>
        </pc:picChg>
        <pc:picChg chg="mod">
          <ac:chgData name="Peter Jankovský" userId="0f9f04bc-ec60-4337-914d-b29f40e6ede0" providerId="ADAL" clId="{CE44B635-925B-44C0-AE9E-281461E4E235}" dt="2019-04-29T17:11:19.309" v="114" actId="1076"/>
          <ac:picMkLst>
            <pc:docMk/>
            <pc:sldMk cId="2196778977" sldId="264"/>
            <ac:picMk id="20" creationId="{23F74A18-CBEA-4784-8EB0-D70294701932}"/>
          </ac:picMkLst>
        </pc:picChg>
        <pc:picChg chg="mod">
          <ac:chgData name="Peter Jankovský" userId="0f9f04bc-ec60-4337-914d-b29f40e6ede0" providerId="ADAL" clId="{CE44B635-925B-44C0-AE9E-281461E4E235}" dt="2019-04-29T17:20:58.033" v="197" actId="1076"/>
          <ac:picMkLst>
            <pc:docMk/>
            <pc:sldMk cId="2196778977" sldId="264"/>
            <ac:picMk id="21" creationId="{D31B9AAA-0022-4C7B-920D-0C907DC26EB3}"/>
          </ac:picMkLst>
        </pc:picChg>
        <pc:picChg chg="mod">
          <ac:chgData name="Peter Jankovský" userId="0f9f04bc-ec60-4337-914d-b29f40e6ede0" providerId="ADAL" clId="{CE44B635-925B-44C0-AE9E-281461E4E235}" dt="2019-04-29T17:19:29.792" v="151" actId="1076"/>
          <ac:picMkLst>
            <pc:docMk/>
            <pc:sldMk cId="2196778977" sldId="264"/>
            <ac:picMk id="22" creationId="{6D5C3D1C-C740-409F-94BA-D4D783BC5B52}"/>
          </ac:picMkLst>
        </pc:picChg>
        <pc:picChg chg="mod">
          <ac:chgData name="Peter Jankovský" userId="0f9f04bc-ec60-4337-914d-b29f40e6ede0" providerId="ADAL" clId="{CE44B635-925B-44C0-AE9E-281461E4E235}" dt="2019-04-29T17:19:24.121" v="150" actId="1076"/>
          <ac:picMkLst>
            <pc:docMk/>
            <pc:sldMk cId="2196778977" sldId="264"/>
            <ac:picMk id="23" creationId="{E425F33C-416F-41CC-8F64-EC5BA9DE46FF}"/>
          </ac:picMkLst>
        </pc:picChg>
        <pc:picChg chg="mod">
          <ac:chgData name="Peter Jankovský" userId="0f9f04bc-ec60-4337-914d-b29f40e6ede0" providerId="ADAL" clId="{CE44B635-925B-44C0-AE9E-281461E4E235}" dt="2019-04-29T17:20:18.899" v="168" actId="1076"/>
          <ac:picMkLst>
            <pc:docMk/>
            <pc:sldMk cId="2196778977" sldId="264"/>
            <ac:picMk id="24" creationId="{DD0518AB-352A-4665-B5CE-8D7B696C1FC1}"/>
          </ac:picMkLst>
        </pc:picChg>
        <pc:picChg chg="mod">
          <ac:chgData name="Peter Jankovský" userId="0f9f04bc-ec60-4337-914d-b29f40e6ede0" providerId="ADAL" clId="{CE44B635-925B-44C0-AE9E-281461E4E235}" dt="2019-04-29T17:19:39.261" v="154" actId="1076"/>
          <ac:picMkLst>
            <pc:docMk/>
            <pc:sldMk cId="2196778977" sldId="264"/>
            <ac:picMk id="25" creationId="{FC66DD60-0E73-47B9-A873-66B53B82AE71}"/>
          </ac:picMkLst>
        </pc:picChg>
        <pc:picChg chg="mod">
          <ac:chgData name="Peter Jankovský" userId="0f9f04bc-ec60-4337-914d-b29f40e6ede0" providerId="ADAL" clId="{CE44B635-925B-44C0-AE9E-281461E4E235}" dt="2019-04-29T17:10:49.492" v="105" actId="1076"/>
          <ac:picMkLst>
            <pc:docMk/>
            <pc:sldMk cId="2196778977" sldId="264"/>
            <ac:picMk id="26" creationId="{5B742FDA-9F57-4A0D-ABDD-329D4DED80FA}"/>
          </ac:picMkLst>
        </pc:picChg>
        <pc:picChg chg="mod">
          <ac:chgData name="Peter Jankovský" userId="0f9f04bc-ec60-4337-914d-b29f40e6ede0" providerId="ADAL" clId="{CE44B635-925B-44C0-AE9E-281461E4E235}" dt="2019-04-29T17:13:39.831" v="146" actId="688"/>
          <ac:picMkLst>
            <pc:docMk/>
            <pc:sldMk cId="2196778977" sldId="264"/>
            <ac:picMk id="27" creationId="{C693C9CF-2234-4BD6-A0EA-EAE4865A544C}"/>
          </ac:picMkLst>
        </pc:picChg>
        <pc:picChg chg="del">
          <ac:chgData name="Peter Jankovský" userId="0f9f04bc-ec60-4337-914d-b29f40e6ede0" providerId="ADAL" clId="{CE44B635-925B-44C0-AE9E-281461E4E235}" dt="2019-04-29T17:12:37.550" v="136" actId="478"/>
          <ac:picMkLst>
            <pc:docMk/>
            <pc:sldMk cId="2196778977" sldId="264"/>
            <ac:picMk id="34" creationId="{5B2A7676-E341-4AF7-AF60-5FC8646285DC}"/>
          </ac:picMkLst>
        </pc:picChg>
        <pc:picChg chg="mod">
          <ac:chgData name="Peter Jankovský" userId="0f9f04bc-ec60-4337-914d-b29f40e6ede0" providerId="ADAL" clId="{CE44B635-925B-44C0-AE9E-281461E4E235}" dt="2019-04-29T17:22:54.028" v="217" actId="1076"/>
          <ac:picMkLst>
            <pc:docMk/>
            <pc:sldMk cId="2196778977" sldId="264"/>
            <ac:picMk id="36" creationId="{DA9E3837-621F-4325-8AC6-6933B4A12629}"/>
          </ac:picMkLst>
        </pc:picChg>
        <pc:picChg chg="mod">
          <ac:chgData name="Peter Jankovský" userId="0f9f04bc-ec60-4337-914d-b29f40e6ede0" providerId="ADAL" clId="{CE44B635-925B-44C0-AE9E-281461E4E235}" dt="2019-04-29T17:23:04.432" v="221" actId="1076"/>
          <ac:picMkLst>
            <pc:docMk/>
            <pc:sldMk cId="2196778977" sldId="264"/>
            <ac:picMk id="41" creationId="{22C13F91-DBAF-434A-85D9-D3B1E2C5F8FA}"/>
          </ac:picMkLst>
        </pc:picChg>
        <pc:picChg chg="mod">
          <ac:chgData name="Peter Jankovský" userId="0f9f04bc-ec60-4337-914d-b29f40e6ede0" providerId="ADAL" clId="{CE44B635-925B-44C0-AE9E-281461E4E235}" dt="2019-04-29T17:20:09.587" v="165" actId="1076"/>
          <ac:picMkLst>
            <pc:docMk/>
            <pc:sldMk cId="2196778977" sldId="264"/>
            <ac:picMk id="48" creationId="{6614ED89-D893-4246-8759-CD32BC97AE8D}"/>
          </ac:picMkLst>
        </pc:picChg>
        <pc:picChg chg="add mod">
          <ac:chgData name="Peter Jankovský" userId="0f9f04bc-ec60-4337-914d-b29f40e6ede0" providerId="ADAL" clId="{CE44B635-925B-44C0-AE9E-281461E4E235}" dt="2019-04-29T17:21:12.558" v="201" actId="1076"/>
          <ac:picMkLst>
            <pc:docMk/>
            <pc:sldMk cId="2196778977" sldId="264"/>
            <ac:picMk id="49" creationId="{0E1E3F09-2AAE-4103-BF37-FA0BBB3B847C}"/>
          </ac:picMkLst>
        </pc:picChg>
        <pc:picChg chg="mod">
          <ac:chgData name="Peter Jankovský" userId="0f9f04bc-ec60-4337-914d-b29f40e6ede0" providerId="ADAL" clId="{CE44B635-925B-44C0-AE9E-281461E4E235}" dt="2019-04-29T17:12:52.265" v="141" actId="1076"/>
          <ac:picMkLst>
            <pc:docMk/>
            <pc:sldMk cId="2196778977" sldId="264"/>
            <ac:picMk id="51" creationId="{F7DD3708-9788-4467-A9E2-1752DF079C6B}"/>
          </ac:picMkLst>
        </pc:picChg>
        <pc:picChg chg="mod ord">
          <ac:chgData name="Peter Jankovský" userId="0f9f04bc-ec60-4337-914d-b29f40e6ede0" providerId="ADAL" clId="{CE44B635-925B-44C0-AE9E-281461E4E235}" dt="2019-04-29T17:20:43.115" v="192" actId="1076"/>
          <ac:picMkLst>
            <pc:docMk/>
            <pc:sldMk cId="2196778977" sldId="264"/>
            <ac:picMk id="52" creationId="{FB097E06-D898-481C-8F58-B8107055BF7D}"/>
          </ac:picMkLst>
        </pc:picChg>
        <pc:picChg chg="add mod">
          <ac:chgData name="Peter Jankovský" userId="0f9f04bc-ec60-4337-914d-b29f40e6ede0" providerId="ADAL" clId="{CE44B635-925B-44C0-AE9E-281461E4E235}" dt="2019-04-29T17:20:14.734" v="167" actId="1076"/>
          <ac:picMkLst>
            <pc:docMk/>
            <pc:sldMk cId="2196778977" sldId="264"/>
            <ac:picMk id="53" creationId="{BE37A790-A363-4F6A-A28A-21D7A09216D0}"/>
          </ac:picMkLst>
        </pc:picChg>
        <pc:picChg chg="add mod">
          <ac:chgData name="Peter Jankovský" userId="0f9f04bc-ec60-4337-914d-b29f40e6ede0" providerId="ADAL" clId="{CE44B635-925B-44C0-AE9E-281461E4E235}" dt="2019-04-29T17:10:15.947" v="101" actId="1076"/>
          <ac:picMkLst>
            <pc:docMk/>
            <pc:sldMk cId="2196778977" sldId="264"/>
            <ac:picMk id="54" creationId="{E2C4B76C-2B56-426E-8E0F-B30D59D14ED5}"/>
          </ac:picMkLst>
        </pc:picChg>
        <pc:picChg chg="add mod">
          <ac:chgData name="Peter Jankovský" userId="0f9f04bc-ec60-4337-914d-b29f40e6ede0" providerId="ADAL" clId="{CE44B635-925B-44C0-AE9E-281461E4E235}" dt="2019-04-29T17:23:01.479" v="220" actId="1076"/>
          <ac:picMkLst>
            <pc:docMk/>
            <pc:sldMk cId="2196778977" sldId="264"/>
            <ac:picMk id="55" creationId="{2B0EF590-16F9-45CC-93EE-E6F6D31DBB6E}"/>
          </ac:picMkLst>
        </pc:picChg>
        <pc:picChg chg="add mod">
          <ac:chgData name="Peter Jankovský" userId="0f9f04bc-ec60-4337-914d-b29f40e6ede0" providerId="ADAL" clId="{CE44B635-925B-44C0-AE9E-281461E4E235}" dt="2019-04-29T17:19:49.516" v="157" actId="1076"/>
          <ac:picMkLst>
            <pc:docMk/>
            <pc:sldMk cId="2196778977" sldId="264"/>
            <ac:picMk id="56" creationId="{906BAE31-CD9B-497D-A604-1D884CEBBEAC}"/>
          </ac:picMkLst>
        </pc:picChg>
        <pc:picChg chg="add mod">
          <ac:chgData name="Peter Jankovský" userId="0f9f04bc-ec60-4337-914d-b29f40e6ede0" providerId="ADAL" clId="{CE44B635-925B-44C0-AE9E-281461E4E235}" dt="2019-04-29T17:10:40.354" v="104" actId="1076"/>
          <ac:picMkLst>
            <pc:docMk/>
            <pc:sldMk cId="2196778977" sldId="264"/>
            <ac:picMk id="57" creationId="{055D46EF-2DCF-4B24-A12E-73344B19A56D}"/>
          </ac:picMkLst>
        </pc:picChg>
        <pc:picChg chg="add mod">
          <ac:chgData name="Peter Jankovský" userId="0f9f04bc-ec60-4337-914d-b29f40e6ede0" providerId="ADAL" clId="{CE44B635-925B-44C0-AE9E-281461E4E235}" dt="2019-04-29T17:13:42.027" v="147" actId="1076"/>
          <ac:picMkLst>
            <pc:docMk/>
            <pc:sldMk cId="2196778977" sldId="264"/>
            <ac:picMk id="58" creationId="{E05B3EA8-E8B7-4585-A49C-03C10E8A1397}"/>
          </ac:picMkLst>
        </pc:picChg>
        <pc:picChg chg="add del">
          <ac:chgData name="Peter Jankovský" userId="0f9f04bc-ec60-4337-914d-b29f40e6ede0" providerId="ADAL" clId="{CE44B635-925B-44C0-AE9E-281461E4E235}" dt="2019-04-29T17:21:59.618" v="203"/>
          <ac:picMkLst>
            <pc:docMk/>
            <pc:sldMk cId="2196778977" sldId="264"/>
            <ac:picMk id="2050" creationId="{77E864D4-0CF7-421A-9FC4-337C1D452E6D}"/>
          </ac:picMkLst>
        </pc:picChg>
      </pc:sldChg>
    </pc:docChg>
  </pc:docChgLst>
  <pc:docChgLst>
    <pc:chgData name="Peter Jankovský" userId="0f9f04bc-ec60-4337-914d-b29f40e6ede0" providerId="ADAL" clId="{BFCCC460-8690-4A88-8FE3-64A51DD59AE0}"/>
    <pc:docChg chg="modSld">
      <pc:chgData name="Peter Jankovský" userId="0f9f04bc-ec60-4337-914d-b29f40e6ede0" providerId="ADAL" clId="{BFCCC460-8690-4A88-8FE3-64A51DD59AE0}" dt="2021-12-06T07:52:19.395" v="4" actId="1076"/>
      <pc:docMkLst>
        <pc:docMk/>
      </pc:docMkLst>
      <pc:sldChg chg="addSp modSp mod">
        <pc:chgData name="Peter Jankovský" userId="0f9f04bc-ec60-4337-914d-b29f40e6ede0" providerId="ADAL" clId="{BFCCC460-8690-4A88-8FE3-64A51DD59AE0}" dt="2021-12-06T07:52:19.395" v="4" actId="1076"/>
        <pc:sldMkLst>
          <pc:docMk/>
          <pc:sldMk cId="4120783338" sldId="263"/>
        </pc:sldMkLst>
        <pc:picChg chg="add mod">
          <ac:chgData name="Peter Jankovský" userId="0f9f04bc-ec60-4337-914d-b29f40e6ede0" providerId="ADAL" clId="{BFCCC460-8690-4A88-8FE3-64A51DD59AE0}" dt="2021-12-06T07:52:19.395" v="4" actId="1076"/>
          <ac:picMkLst>
            <pc:docMk/>
            <pc:sldMk cId="4120783338" sldId="263"/>
            <ac:picMk id="78" creationId="{C919746D-8A3F-4C98-896C-46F68FEA2ECF}"/>
          </ac:picMkLst>
        </pc:picChg>
      </pc:sldChg>
    </pc:docChg>
  </pc:docChgLst>
  <pc:docChgLst>
    <pc:chgData name="Peter Jankovský" userId="0f9f04bc-ec60-4337-914d-b29f40e6ede0" providerId="ADAL" clId="{69CE645E-EB44-459C-ACD3-9C49D53A2E00}"/>
    <pc:docChg chg="undo redo custSel modSld">
      <pc:chgData name="Peter Jankovský" userId="0f9f04bc-ec60-4337-914d-b29f40e6ede0" providerId="ADAL" clId="{69CE645E-EB44-459C-ACD3-9C49D53A2E00}" dt="2020-07-13T06:48:43.432" v="58" actId="6549"/>
      <pc:docMkLst>
        <pc:docMk/>
      </pc:docMkLst>
      <pc:sldChg chg="addSp delSp mod">
        <pc:chgData name="Peter Jankovský" userId="0f9f04bc-ec60-4337-914d-b29f40e6ede0" providerId="ADAL" clId="{69CE645E-EB44-459C-ACD3-9C49D53A2E00}" dt="2020-07-13T06:46:38.659" v="1" actId="478"/>
        <pc:sldMkLst>
          <pc:docMk/>
          <pc:sldMk cId="241762744" sldId="272"/>
        </pc:sldMkLst>
        <pc:picChg chg="add del">
          <ac:chgData name="Peter Jankovský" userId="0f9f04bc-ec60-4337-914d-b29f40e6ede0" providerId="ADAL" clId="{69CE645E-EB44-459C-ACD3-9C49D53A2E00}" dt="2020-07-13T06:46:38.659" v="1" actId="478"/>
          <ac:picMkLst>
            <pc:docMk/>
            <pc:sldMk cId="241762744" sldId="272"/>
            <ac:picMk id="4" creationId="{27820D55-067D-4AAE-BA84-2035EAE06EF6}"/>
          </ac:picMkLst>
        </pc:picChg>
      </pc:sldChg>
      <pc:sldChg chg="addSp delSp modSp mod modAnim">
        <pc:chgData name="Peter Jankovský" userId="0f9f04bc-ec60-4337-914d-b29f40e6ede0" providerId="ADAL" clId="{69CE645E-EB44-459C-ACD3-9C49D53A2E00}" dt="2020-07-13T06:48:43.432" v="58" actId="6549"/>
        <pc:sldMkLst>
          <pc:docMk/>
          <pc:sldMk cId="4251123589" sldId="693"/>
        </pc:sldMkLst>
        <pc:spChg chg="mod">
          <ac:chgData name="Peter Jankovský" userId="0f9f04bc-ec60-4337-914d-b29f40e6ede0" providerId="ADAL" clId="{69CE645E-EB44-459C-ACD3-9C49D53A2E00}" dt="2020-07-13T06:47:15.526" v="7" actId="1076"/>
          <ac:spMkLst>
            <pc:docMk/>
            <pc:sldMk cId="4251123589" sldId="693"/>
            <ac:spMk id="20" creationId="{8F373ADB-FA28-40E7-9293-2C5A72C0A1A6}"/>
          </ac:spMkLst>
        </pc:spChg>
        <pc:spChg chg="mod">
          <ac:chgData name="Peter Jankovský" userId="0f9f04bc-ec60-4337-914d-b29f40e6ede0" providerId="ADAL" clId="{69CE645E-EB44-459C-ACD3-9C49D53A2E00}" dt="2020-07-13T06:48:43.432" v="58" actId="6549"/>
          <ac:spMkLst>
            <pc:docMk/>
            <pc:sldMk cId="4251123589" sldId="693"/>
            <ac:spMk id="21" creationId="{72035069-1B0A-4EC1-80CB-00C50DB00F0E}"/>
          </ac:spMkLst>
        </pc:spChg>
        <pc:spChg chg="mod">
          <ac:chgData name="Peter Jankovský" userId="0f9f04bc-ec60-4337-914d-b29f40e6ede0" providerId="ADAL" clId="{69CE645E-EB44-459C-ACD3-9C49D53A2E00}" dt="2020-07-13T06:48:10.284" v="24" actId="1076"/>
          <ac:spMkLst>
            <pc:docMk/>
            <pc:sldMk cId="4251123589" sldId="693"/>
            <ac:spMk id="28" creationId="{F421C2A5-2B83-40DC-84AA-EF127BAD45B9}"/>
          </ac:spMkLst>
        </pc:spChg>
        <pc:spChg chg="mod">
          <ac:chgData name="Peter Jankovský" userId="0f9f04bc-ec60-4337-914d-b29f40e6ede0" providerId="ADAL" clId="{69CE645E-EB44-459C-ACD3-9C49D53A2E00}" dt="2020-07-13T06:47:26.747" v="14" actId="1038"/>
          <ac:spMkLst>
            <pc:docMk/>
            <pc:sldMk cId="4251123589" sldId="693"/>
            <ac:spMk id="31" creationId="{00000000-0000-0000-0000-000000000000}"/>
          </ac:spMkLst>
        </pc:spChg>
        <pc:spChg chg="mod">
          <ac:chgData name="Peter Jankovský" userId="0f9f04bc-ec60-4337-914d-b29f40e6ede0" providerId="ADAL" clId="{69CE645E-EB44-459C-ACD3-9C49D53A2E00}" dt="2020-07-13T06:48:10.284" v="24" actId="1076"/>
          <ac:spMkLst>
            <pc:docMk/>
            <pc:sldMk cId="4251123589" sldId="693"/>
            <ac:spMk id="32" creationId="{9EC09ADF-E3B7-4870-9759-D1D5B9C60245}"/>
          </ac:spMkLst>
        </pc:spChg>
        <pc:spChg chg="mod">
          <ac:chgData name="Peter Jankovský" userId="0f9f04bc-ec60-4337-914d-b29f40e6ede0" providerId="ADAL" clId="{69CE645E-EB44-459C-ACD3-9C49D53A2E00}" dt="2020-07-13T06:48:00.985" v="23" actId="1076"/>
          <ac:spMkLst>
            <pc:docMk/>
            <pc:sldMk cId="4251123589" sldId="693"/>
            <ac:spMk id="94" creationId="{00000000-0000-0000-0000-000000000000}"/>
          </ac:spMkLst>
        </pc:spChg>
        <pc:spChg chg="mod">
          <ac:chgData name="Peter Jankovský" userId="0f9f04bc-ec60-4337-914d-b29f40e6ede0" providerId="ADAL" clId="{69CE645E-EB44-459C-ACD3-9C49D53A2E00}" dt="2020-07-13T06:47:26.747" v="14" actId="1038"/>
          <ac:spMkLst>
            <pc:docMk/>
            <pc:sldMk cId="4251123589" sldId="693"/>
            <ac:spMk id="96" creationId="{00000000-0000-0000-0000-000000000000}"/>
          </ac:spMkLst>
        </pc:spChg>
        <pc:spChg chg="mod">
          <ac:chgData name="Peter Jankovský" userId="0f9f04bc-ec60-4337-914d-b29f40e6ede0" providerId="ADAL" clId="{69CE645E-EB44-459C-ACD3-9C49D53A2E00}" dt="2020-07-13T06:48:10.284" v="24" actId="1076"/>
          <ac:spMkLst>
            <pc:docMk/>
            <pc:sldMk cId="4251123589" sldId="693"/>
            <ac:spMk id="106" creationId="{7477EE9C-8BAD-4D86-9B5E-9552943B1F1D}"/>
          </ac:spMkLst>
        </pc:spChg>
        <pc:picChg chg="add mod">
          <ac:chgData name="Peter Jankovský" userId="0f9f04bc-ec60-4337-914d-b29f40e6ede0" providerId="ADAL" clId="{69CE645E-EB44-459C-ACD3-9C49D53A2E00}" dt="2020-07-13T06:48:16.731" v="34" actId="1037"/>
          <ac:picMkLst>
            <pc:docMk/>
            <pc:sldMk cId="4251123589" sldId="693"/>
            <ac:picMk id="2" creationId="{EF355796-8D92-47E8-BD26-741CCE959C5E}"/>
          </ac:picMkLst>
        </pc:picChg>
        <pc:picChg chg="del">
          <ac:chgData name="Peter Jankovský" userId="0f9f04bc-ec60-4337-914d-b29f40e6ede0" providerId="ADAL" clId="{69CE645E-EB44-459C-ACD3-9C49D53A2E00}" dt="2020-07-13T06:46:52.052" v="3" actId="478"/>
          <ac:picMkLst>
            <pc:docMk/>
            <pc:sldMk cId="4251123589" sldId="693"/>
            <ac:picMk id="41" creationId="{7A402D69-E47C-43BC-939D-36D584EFEAE5}"/>
          </ac:picMkLst>
        </pc:picChg>
        <pc:picChg chg="del">
          <ac:chgData name="Peter Jankovský" userId="0f9f04bc-ec60-4337-914d-b29f40e6ede0" providerId="ADAL" clId="{69CE645E-EB44-459C-ACD3-9C49D53A2E00}" dt="2020-07-13T06:46:50.209" v="2" actId="478"/>
          <ac:picMkLst>
            <pc:docMk/>
            <pc:sldMk cId="4251123589" sldId="693"/>
            <ac:picMk id="1026" creationId="{59320EB7-7FA6-48A8-9B50-324B50E2FF12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CB222EE-C9FE-44A0-9D82-7FD013C91414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E3B80519-9651-47B8-A5E8-41ABBD0CDBCE}">
      <dgm:prSet custT="1"/>
      <dgm:spPr/>
      <dgm:t>
        <a:bodyPr/>
        <a:lstStyle/>
        <a:p>
          <a:r>
            <a:rPr lang="cs-CZ" sz="2000" b="1" noProof="0" dirty="0">
              <a:solidFill>
                <a:schemeClr val="tx2"/>
              </a:solidFill>
              <a:latin typeface="Tw Cen MT" panose="020B0602020104020603" pitchFamily="34" charset="-18"/>
            </a:rPr>
            <a:t>Efektivní řešení </a:t>
          </a:r>
          <a:r>
            <a:rPr lang="cs-CZ" sz="2000" b="1" noProof="0" dirty="0" err="1">
              <a:solidFill>
                <a:schemeClr val="tx2"/>
              </a:solidFill>
              <a:latin typeface="Tw Cen MT" panose="020B0602020104020603" pitchFamily="34" charset="-18"/>
            </a:rPr>
            <a:t>kyber</a:t>
          </a:r>
          <a:r>
            <a:rPr lang="cs-CZ" sz="2000" b="1" noProof="0" dirty="0">
              <a:solidFill>
                <a:schemeClr val="tx2"/>
              </a:solidFill>
              <a:latin typeface="Tw Cen MT" panose="020B0602020104020603" pitchFamily="34" charset="-18"/>
            </a:rPr>
            <a:t>. Incidentu.</a:t>
          </a:r>
        </a:p>
      </dgm:t>
    </dgm:pt>
    <dgm:pt modelId="{51837BA8-AE59-44AE-9EC4-4652B2AE9865}" type="parTrans" cxnId="{3A197944-2E8B-41C4-BA3E-1574D28D1C57}">
      <dgm:prSet/>
      <dgm:spPr/>
      <dgm:t>
        <a:bodyPr/>
        <a:lstStyle/>
        <a:p>
          <a:endParaRPr lang="cs-CZ" sz="2000" b="1">
            <a:solidFill>
              <a:schemeClr val="tx2"/>
            </a:solidFill>
            <a:latin typeface="Tw Cen MT" panose="020B0602020104020603" pitchFamily="34" charset="-18"/>
          </a:endParaRPr>
        </a:p>
      </dgm:t>
    </dgm:pt>
    <dgm:pt modelId="{2239A632-BC77-405C-9732-A0931C35B8FD}" type="sibTrans" cxnId="{3A197944-2E8B-41C4-BA3E-1574D28D1C57}">
      <dgm:prSet/>
      <dgm:spPr/>
      <dgm:t>
        <a:bodyPr/>
        <a:lstStyle/>
        <a:p>
          <a:endParaRPr lang="cs-CZ" sz="2000" b="1">
            <a:solidFill>
              <a:schemeClr val="tx2"/>
            </a:solidFill>
            <a:latin typeface="Tw Cen MT" panose="020B0602020104020603" pitchFamily="34" charset="-18"/>
          </a:endParaRPr>
        </a:p>
      </dgm:t>
    </dgm:pt>
    <dgm:pt modelId="{B5F46752-3A40-4A75-BEC5-C760EFAB5581}">
      <dgm:prSet custT="1"/>
      <dgm:spPr/>
      <dgm:t>
        <a:bodyPr/>
        <a:lstStyle/>
        <a:p>
          <a:r>
            <a:rPr lang="sk-SK" sz="2000" b="1" kern="1200" noProof="0" dirty="0">
              <a:solidFill>
                <a:srgbClr val="3F3F3F"/>
              </a:solidFill>
              <a:latin typeface="Tw Cen MT" panose="020B0602020104020603" pitchFamily="34" charset="-18"/>
              <a:ea typeface="+mn-ea"/>
              <a:cs typeface="+mn-cs"/>
            </a:rPr>
            <a:t>Lepší a intenzívnejší spolupráce </a:t>
          </a:r>
          <a:r>
            <a:rPr lang="cs-CZ" sz="2000" b="1" kern="1200" noProof="0" dirty="0">
              <a:solidFill>
                <a:srgbClr val="3F3F3F"/>
              </a:solidFill>
              <a:latin typeface="Tw Cen MT" panose="020B0602020104020603" pitchFamily="34" charset="-18"/>
              <a:ea typeface="+mn-ea"/>
              <a:cs typeface="+mn-cs"/>
            </a:rPr>
            <a:t>mezi</a:t>
          </a:r>
          <a:r>
            <a:rPr lang="sk-SK" sz="2000" b="1" kern="1200" noProof="0" dirty="0">
              <a:solidFill>
                <a:srgbClr val="3F3F3F"/>
              </a:solidFill>
              <a:latin typeface="Tw Cen MT" panose="020B0602020104020603" pitchFamily="34" charset="-18"/>
              <a:ea typeface="+mn-ea"/>
              <a:cs typeface="+mn-cs"/>
            </a:rPr>
            <a:t> členskými státy.</a:t>
          </a:r>
          <a:endParaRPr lang="cs-CZ" sz="2000" b="1" kern="1200" noProof="0" dirty="0">
            <a:solidFill>
              <a:srgbClr val="3F3F3F"/>
            </a:solidFill>
            <a:latin typeface="Tw Cen MT" panose="020B0602020104020603" pitchFamily="34" charset="-18"/>
            <a:ea typeface="+mn-ea"/>
            <a:cs typeface="+mn-cs"/>
          </a:endParaRPr>
        </a:p>
      </dgm:t>
    </dgm:pt>
    <dgm:pt modelId="{6120C1DA-31E7-4F92-B7A7-6A4D52EA848E}" type="sibTrans" cxnId="{3F46AE7F-76D5-4276-AF40-68FC7569B417}">
      <dgm:prSet/>
      <dgm:spPr/>
      <dgm:t>
        <a:bodyPr/>
        <a:lstStyle/>
        <a:p>
          <a:endParaRPr lang="cs-CZ" sz="2000" b="1">
            <a:solidFill>
              <a:schemeClr val="tx2"/>
            </a:solidFill>
            <a:latin typeface="Tw Cen MT" panose="020B0602020104020603" pitchFamily="34" charset="-18"/>
          </a:endParaRPr>
        </a:p>
      </dgm:t>
    </dgm:pt>
    <dgm:pt modelId="{E79093A8-C1DD-4823-AEAE-49CE1D207EFD}" type="parTrans" cxnId="{3F46AE7F-76D5-4276-AF40-68FC7569B417}">
      <dgm:prSet/>
      <dgm:spPr/>
      <dgm:t>
        <a:bodyPr/>
        <a:lstStyle/>
        <a:p>
          <a:endParaRPr lang="cs-CZ" sz="2000" b="1">
            <a:solidFill>
              <a:schemeClr val="tx2"/>
            </a:solidFill>
            <a:latin typeface="Tw Cen MT" panose="020B0602020104020603" pitchFamily="34" charset="-18"/>
          </a:endParaRPr>
        </a:p>
      </dgm:t>
    </dgm:pt>
    <dgm:pt modelId="{27E28482-573E-408F-9F91-1C6287603B6E}">
      <dgm:prSet custT="1"/>
      <dgm:spPr/>
      <dgm:t>
        <a:bodyPr/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b="1" kern="1200" noProof="0" dirty="0">
              <a:solidFill>
                <a:srgbClr val="3F3F3F"/>
              </a:solidFill>
              <a:latin typeface="Tw Cen MT" panose="020B0602020104020603" pitchFamily="34" charset="-18"/>
              <a:ea typeface="+mn-ea"/>
              <a:cs typeface="+mn-cs"/>
            </a:rPr>
            <a:t>Zajištění vysoké společné úrovně bezpečnosti sítí a IS v EU</a:t>
          </a:r>
        </a:p>
      </dgm:t>
    </dgm:pt>
    <dgm:pt modelId="{2C5FD99B-643B-434F-A61F-15C1E2735DEB}" type="sibTrans" cxnId="{B0D8E84F-D8BE-4D59-B0DE-1F1D6F103ED0}">
      <dgm:prSet/>
      <dgm:spPr/>
      <dgm:t>
        <a:bodyPr/>
        <a:lstStyle/>
        <a:p>
          <a:endParaRPr lang="cs-CZ" sz="2000" b="1">
            <a:solidFill>
              <a:schemeClr val="tx2"/>
            </a:solidFill>
            <a:latin typeface="Tw Cen MT" panose="020B0602020104020603" pitchFamily="34" charset="-18"/>
          </a:endParaRPr>
        </a:p>
      </dgm:t>
    </dgm:pt>
    <dgm:pt modelId="{0D0FF1CA-0F93-4B93-A5FF-53C0A8EB6E97}" type="parTrans" cxnId="{B0D8E84F-D8BE-4D59-B0DE-1F1D6F103ED0}">
      <dgm:prSet/>
      <dgm:spPr/>
      <dgm:t>
        <a:bodyPr/>
        <a:lstStyle/>
        <a:p>
          <a:endParaRPr lang="cs-CZ" sz="2000" b="1">
            <a:solidFill>
              <a:schemeClr val="tx2"/>
            </a:solidFill>
            <a:latin typeface="Tw Cen MT" panose="020B0602020104020603" pitchFamily="34" charset="-18"/>
          </a:endParaRPr>
        </a:p>
      </dgm:t>
    </dgm:pt>
    <dgm:pt modelId="{E4387A31-91CB-4A39-9205-BB2DBF16DB72}">
      <dgm:prSet custT="1"/>
      <dgm:spPr/>
      <dgm:t>
        <a:bodyPr/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000" b="1" kern="1200" noProof="0" dirty="0">
              <a:solidFill>
                <a:schemeClr val="tx2"/>
              </a:solidFill>
              <a:latin typeface="Tw Cen MT" panose="020B0602020104020603" pitchFamily="34" charset="-18"/>
            </a:rPr>
            <a:t>Zvýšení odolnosti podniků působících v EU (zavedení opatření).</a:t>
          </a:r>
          <a:endParaRPr lang="cs-CZ" sz="2000" b="1" kern="1200" noProof="0" dirty="0">
            <a:solidFill>
              <a:srgbClr val="3F3F3F"/>
            </a:solidFill>
            <a:latin typeface="Tw Cen MT" panose="020B0602020104020603" pitchFamily="34" charset="-18"/>
            <a:ea typeface="+mn-ea"/>
            <a:cs typeface="+mn-cs"/>
          </a:endParaRPr>
        </a:p>
      </dgm:t>
    </dgm:pt>
    <dgm:pt modelId="{28D3F2B0-7090-4E91-9EC3-1DB686A61E80}" type="parTrans" cxnId="{7321A3C2-015F-4930-B5D0-1DCD9F83317D}">
      <dgm:prSet/>
      <dgm:spPr/>
      <dgm:t>
        <a:bodyPr/>
        <a:lstStyle/>
        <a:p>
          <a:endParaRPr lang="sk-SK" sz="2000"/>
        </a:p>
      </dgm:t>
    </dgm:pt>
    <dgm:pt modelId="{B78159DD-45E1-4C7D-A7A6-ED2EC810D0C5}" type="sibTrans" cxnId="{7321A3C2-015F-4930-B5D0-1DCD9F83317D}">
      <dgm:prSet/>
      <dgm:spPr/>
      <dgm:t>
        <a:bodyPr/>
        <a:lstStyle/>
        <a:p>
          <a:endParaRPr lang="sk-SK" sz="2000"/>
        </a:p>
      </dgm:t>
    </dgm:pt>
    <dgm:pt modelId="{2BC361F0-2DA1-4ECF-AD40-DAEC4E6EFC6C}">
      <dgm:prSet custT="1"/>
      <dgm:spPr/>
      <dgm:t>
        <a:bodyPr/>
        <a:lstStyle/>
        <a:p>
          <a:r>
            <a:rPr lang="cs-CZ" sz="2000" b="1" noProof="0" dirty="0">
              <a:solidFill>
                <a:schemeClr val="tx2"/>
              </a:solidFill>
              <a:latin typeface="Tw Cen MT" panose="020B0602020104020603" pitchFamily="34" charset="-18"/>
            </a:rPr>
            <a:t>R</a:t>
          </a:r>
          <a:r>
            <a:rPr lang="pt-BR" sz="2000" b="1" noProof="0" dirty="0">
              <a:solidFill>
                <a:schemeClr val="tx2"/>
              </a:solidFill>
              <a:latin typeface="Tw Cen MT" panose="020B0602020104020603" pitchFamily="34" charset="-18"/>
            </a:rPr>
            <a:t>eagování na globální situace </a:t>
          </a:r>
          <a:r>
            <a:rPr lang="cs-CZ" sz="2000" b="1" noProof="0" dirty="0">
              <a:solidFill>
                <a:schemeClr val="tx2"/>
              </a:solidFill>
              <a:latin typeface="Tw Cen MT" panose="020B0602020104020603" pitchFamily="34" charset="-18"/>
            </a:rPr>
            <a:t>a ochrana občanů a ekonomiky </a:t>
          </a:r>
        </a:p>
      </dgm:t>
    </dgm:pt>
    <dgm:pt modelId="{F6AD55AB-40DF-4A33-88C9-D924E591C6D0}" type="parTrans" cxnId="{3F0C784F-8DEB-47F3-A04B-B0D8BA9D52F1}">
      <dgm:prSet/>
      <dgm:spPr/>
      <dgm:t>
        <a:bodyPr/>
        <a:lstStyle/>
        <a:p>
          <a:endParaRPr lang="sk-SK" sz="2000"/>
        </a:p>
      </dgm:t>
    </dgm:pt>
    <dgm:pt modelId="{6C3F1669-4517-439F-889B-CEE44E5279BF}" type="sibTrans" cxnId="{3F0C784F-8DEB-47F3-A04B-B0D8BA9D52F1}">
      <dgm:prSet/>
      <dgm:spPr/>
      <dgm:t>
        <a:bodyPr/>
        <a:lstStyle/>
        <a:p>
          <a:endParaRPr lang="sk-SK" sz="2000"/>
        </a:p>
      </dgm:t>
    </dgm:pt>
    <dgm:pt modelId="{8C042FD1-26B7-41EA-B9C8-1061A2A29874}" type="pres">
      <dgm:prSet presAssocID="{3CB222EE-C9FE-44A0-9D82-7FD013C91414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cs-CZ"/>
        </a:p>
      </dgm:t>
    </dgm:pt>
    <dgm:pt modelId="{D7A6FE5F-1598-4CF5-9CC5-BCC69F7C4FD8}" type="pres">
      <dgm:prSet presAssocID="{27E28482-573E-408F-9F91-1C6287603B6E}" presName="composite" presStyleCnt="0"/>
      <dgm:spPr/>
    </dgm:pt>
    <dgm:pt modelId="{C19F4E01-581C-4014-8377-9F295FF09358}" type="pres">
      <dgm:prSet presAssocID="{27E28482-573E-408F-9F91-1C6287603B6E}" presName="imgShp" presStyleLbl="fgImgPlace1" presStyleIdx="0" presStyleCnt="5"/>
      <dgm:spPr>
        <a:solidFill>
          <a:schemeClr val="bg2">
            <a:lumMod val="90000"/>
          </a:schemeClr>
        </a:solidFill>
      </dgm:spPr>
    </dgm:pt>
    <dgm:pt modelId="{05EEA3B1-BF41-4BA4-B736-E5579F9F124C}" type="pres">
      <dgm:prSet presAssocID="{27E28482-573E-408F-9F91-1C6287603B6E}" presName="txShp" presStyleLbl="node1" presStyleIdx="0" presStyleCnt="5" custScaleY="137784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1F91DBD3-D9FD-46F3-A60C-72F236F7916C}" type="pres">
      <dgm:prSet presAssocID="{2C5FD99B-643B-434F-A61F-15C1E2735DEB}" presName="spacing" presStyleCnt="0"/>
      <dgm:spPr/>
    </dgm:pt>
    <dgm:pt modelId="{1AB50ECB-7237-43AA-9B0B-C4B41720B0D9}" type="pres">
      <dgm:prSet presAssocID="{E4387A31-91CB-4A39-9205-BB2DBF16DB72}" presName="composite" presStyleCnt="0"/>
      <dgm:spPr/>
    </dgm:pt>
    <dgm:pt modelId="{BE72C1BE-2B00-4BA3-A9A2-25D1C8033082}" type="pres">
      <dgm:prSet presAssocID="{E4387A31-91CB-4A39-9205-BB2DBF16DB72}" presName="imgShp" presStyleLbl="fgImgPlace1" presStyleIdx="1" presStyleCnt="5"/>
      <dgm:spPr>
        <a:solidFill>
          <a:schemeClr val="bg2"/>
        </a:solidFill>
      </dgm:spPr>
    </dgm:pt>
    <dgm:pt modelId="{396C4469-DB6D-442E-91ED-D603C9560984}" type="pres">
      <dgm:prSet presAssocID="{E4387A31-91CB-4A39-9205-BB2DBF16DB72}" presName="txShp" presStyleLbl="node1" presStyleIdx="1" presStyleCnt="5" custScaleY="128340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3D8B136E-5CFD-40C4-96E3-46C73B65E2D3}" type="pres">
      <dgm:prSet presAssocID="{B78159DD-45E1-4C7D-A7A6-ED2EC810D0C5}" presName="spacing" presStyleCnt="0"/>
      <dgm:spPr/>
    </dgm:pt>
    <dgm:pt modelId="{1ADEDD34-D4AA-456C-A321-0C94335447B1}" type="pres">
      <dgm:prSet presAssocID="{B5F46752-3A40-4A75-BEC5-C760EFAB5581}" presName="composite" presStyleCnt="0"/>
      <dgm:spPr/>
    </dgm:pt>
    <dgm:pt modelId="{5D13F47B-30B0-4B41-B021-234516C395FA}" type="pres">
      <dgm:prSet presAssocID="{B5F46752-3A40-4A75-BEC5-C760EFAB5581}" presName="imgShp" presStyleLbl="fgImgPlace1" presStyleIdx="2" presStyleCnt="5"/>
      <dgm:spPr>
        <a:solidFill>
          <a:schemeClr val="bg2">
            <a:lumMod val="50000"/>
          </a:schemeClr>
        </a:solidFill>
      </dgm:spPr>
    </dgm:pt>
    <dgm:pt modelId="{6CF3C62A-9C77-4362-8C39-D14492C035B7}" type="pres">
      <dgm:prSet presAssocID="{B5F46752-3A40-4A75-BEC5-C760EFAB5581}" presName="txShp" presStyleLbl="node1" presStyleIdx="2" presStyleCnt="5" custScaleY="163891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AE4BC3AF-8226-427D-BB8A-14C6CAA5E167}" type="pres">
      <dgm:prSet presAssocID="{6120C1DA-31E7-4F92-B7A7-6A4D52EA848E}" presName="spacing" presStyleCnt="0"/>
      <dgm:spPr/>
    </dgm:pt>
    <dgm:pt modelId="{DBADB25A-8C93-4880-BAF0-390ED1B0693A}" type="pres">
      <dgm:prSet presAssocID="{E3B80519-9651-47B8-A5E8-41ABBD0CDBCE}" presName="composite" presStyleCnt="0"/>
      <dgm:spPr/>
    </dgm:pt>
    <dgm:pt modelId="{3AC35BCF-6443-4BB3-B467-4BE4B6A959FA}" type="pres">
      <dgm:prSet presAssocID="{E3B80519-9651-47B8-A5E8-41ABBD0CDBCE}" presName="imgShp" presStyleLbl="fgImgPlace1" presStyleIdx="3" presStyleCnt="5"/>
      <dgm:spPr>
        <a:solidFill>
          <a:schemeClr val="bg2">
            <a:lumMod val="25000"/>
          </a:schemeClr>
        </a:solidFill>
      </dgm:spPr>
    </dgm:pt>
    <dgm:pt modelId="{1991A103-DC97-4B8D-B9D0-C24AB678E88C}" type="pres">
      <dgm:prSet presAssocID="{E3B80519-9651-47B8-A5E8-41ABBD0CDBCE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2278765D-AD14-40F4-A0FB-1EDD907D489C}" type="pres">
      <dgm:prSet presAssocID="{2239A632-BC77-405C-9732-A0931C35B8FD}" presName="spacing" presStyleCnt="0"/>
      <dgm:spPr/>
    </dgm:pt>
    <dgm:pt modelId="{F47B9C50-1044-49CA-85FE-E5009105CC0D}" type="pres">
      <dgm:prSet presAssocID="{2BC361F0-2DA1-4ECF-AD40-DAEC4E6EFC6C}" presName="composite" presStyleCnt="0"/>
      <dgm:spPr/>
    </dgm:pt>
    <dgm:pt modelId="{AD88CBF5-A4B6-4323-B358-9C79806BB8ED}" type="pres">
      <dgm:prSet presAssocID="{2BC361F0-2DA1-4ECF-AD40-DAEC4E6EFC6C}" presName="imgShp" presStyleLbl="fgImgPlace1" presStyleIdx="4" presStyleCnt="5"/>
      <dgm:spPr>
        <a:solidFill>
          <a:schemeClr val="tx1">
            <a:lumMod val="40000"/>
            <a:lumOff val="60000"/>
          </a:schemeClr>
        </a:solidFill>
      </dgm:spPr>
    </dgm:pt>
    <dgm:pt modelId="{3A58D11B-E6F9-4947-A600-8FC61ED76B2F}" type="pres">
      <dgm:prSet presAssocID="{2BC361F0-2DA1-4ECF-AD40-DAEC4E6EFC6C}" presName="txShp" presStyleLbl="node1" presStyleIdx="4" presStyleCnt="5" custLinFactNeighborX="476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</dgm:ptLst>
  <dgm:cxnLst>
    <dgm:cxn modelId="{3FA4E55B-A150-4F54-9953-3411B821A9E4}" type="presOf" srcId="{27E28482-573E-408F-9F91-1C6287603B6E}" destId="{05EEA3B1-BF41-4BA4-B736-E5579F9F124C}" srcOrd="0" destOrd="0" presId="urn:microsoft.com/office/officeart/2005/8/layout/vList3"/>
    <dgm:cxn modelId="{590F960E-E1CF-47E2-9962-4843BE8B1C60}" type="presOf" srcId="{3CB222EE-C9FE-44A0-9D82-7FD013C91414}" destId="{8C042FD1-26B7-41EA-B9C8-1061A2A29874}" srcOrd="0" destOrd="0" presId="urn:microsoft.com/office/officeart/2005/8/layout/vList3"/>
    <dgm:cxn modelId="{4415F9ED-3757-4A5C-9CC6-26C83B633261}" type="presOf" srcId="{2BC361F0-2DA1-4ECF-AD40-DAEC4E6EFC6C}" destId="{3A58D11B-E6F9-4947-A600-8FC61ED76B2F}" srcOrd="0" destOrd="0" presId="urn:microsoft.com/office/officeart/2005/8/layout/vList3"/>
    <dgm:cxn modelId="{B0D8E84F-D8BE-4D59-B0DE-1F1D6F103ED0}" srcId="{3CB222EE-C9FE-44A0-9D82-7FD013C91414}" destId="{27E28482-573E-408F-9F91-1C6287603B6E}" srcOrd="0" destOrd="0" parTransId="{0D0FF1CA-0F93-4B93-A5FF-53C0A8EB6E97}" sibTransId="{2C5FD99B-643B-434F-A61F-15C1E2735DEB}"/>
    <dgm:cxn modelId="{3A197944-2E8B-41C4-BA3E-1574D28D1C57}" srcId="{3CB222EE-C9FE-44A0-9D82-7FD013C91414}" destId="{E3B80519-9651-47B8-A5E8-41ABBD0CDBCE}" srcOrd="3" destOrd="0" parTransId="{51837BA8-AE59-44AE-9EC4-4652B2AE9865}" sibTransId="{2239A632-BC77-405C-9732-A0931C35B8FD}"/>
    <dgm:cxn modelId="{103CF1B2-3868-4AF0-9536-74ABD069E5C7}" type="presOf" srcId="{E3B80519-9651-47B8-A5E8-41ABBD0CDBCE}" destId="{1991A103-DC97-4B8D-B9D0-C24AB678E88C}" srcOrd="0" destOrd="0" presId="urn:microsoft.com/office/officeart/2005/8/layout/vList3"/>
    <dgm:cxn modelId="{10D0214A-57D7-4E64-A8C6-4D672D5FFF00}" type="presOf" srcId="{E4387A31-91CB-4A39-9205-BB2DBF16DB72}" destId="{396C4469-DB6D-442E-91ED-D603C9560984}" srcOrd="0" destOrd="0" presId="urn:microsoft.com/office/officeart/2005/8/layout/vList3"/>
    <dgm:cxn modelId="{7321A3C2-015F-4930-B5D0-1DCD9F83317D}" srcId="{3CB222EE-C9FE-44A0-9D82-7FD013C91414}" destId="{E4387A31-91CB-4A39-9205-BB2DBF16DB72}" srcOrd="1" destOrd="0" parTransId="{28D3F2B0-7090-4E91-9EC3-1DB686A61E80}" sibTransId="{B78159DD-45E1-4C7D-A7A6-ED2EC810D0C5}"/>
    <dgm:cxn modelId="{3F0C784F-8DEB-47F3-A04B-B0D8BA9D52F1}" srcId="{3CB222EE-C9FE-44A0-9D82-7FD013C91414}" destId="{2BC361F0-2DA1-4ECF-AD40-DAEC4E6EFC6C}" srcOrd="4" destOrd="0" parTransId="{F6AD55AB-40DF-4A33-88C9-D924E591C6D0}" sibTransId="{6C3F1669-4517-439F-889B-CEE44E5279BF}"/>
    <dgm:cxn modelId="{3F46AE7F-76D5-4276-AF40-68FC7569B417}" srcId="{3CB222EE-C9FE-44A0-9D82-7FD013C91414}" destId="{B5F46752-3A40-4A75-BEC5-C760EFAB5581}" srcOrd="2" destOrd="0" parTransId="{E79093A8-C1DD-4823-AEAE-49CE1D207EFD}" sibTransId="{6120C1DA-31E7-4F92-B7A7-6A4D52EA848E}"/>
    <dgm:cxn modelId="{8D637386-8618-4A17-BC3D-D7FF6B7B9D9C}" type="presOf" srcId="{B5F46752-3A40-4A75-BEC5-C760EFAB5581}" destId="{6CF3C62A-9C77-4362-8C39-D14492C035B7}" srcOrd="0" destOrd="0" presId="urn:microsoft.com/office/officeart/2005/8/layout/vList3"/>
    <dgm:cxn modelId="{225FBD28-7408-46DE-AD67-852F12288176}" type="presParOf" srcId="{8C042FD1-26B7-41EA-B9C8-1061A2A29874}" destId="{D7A6FE5F-1598-4CF5-9CC5-BCC69F7C4FD8}" srcOrd="0" destOrd="0" presId="urn:microsoft.com/office/officeart/2005/8/layout/vList3"/>
    <dgm:cxn modelId="{EAF1E8DB-BBE8-42B9-88DC-5F81CA1DF083}" type="presParOf" srcId="{D7A6FE5F-1598-4CF5-9CC5-BCC69F7C4FD8}" destId="{C19F4E01-581C-4014-8377-9F295FF09358}" srcOrd="0" destOrd="0" presId="urn:microsoft.com/office/officeart/2005/8/layout/vList3"/>
    <dgm:cxn modelId="{19E05217-14B6-4892-BF89-F1E7F724E85D}" type="presParOf" srcId="{D7A6FE5F-1598-4CF5-9CC5-BCC69F7C4FD8}" destId="{05EEA3B1-BF41-4BA4-B736-E5579F9F124C}" srcOrd="1" destOrd="0" presId="urn:microsoft.com/office/officeart/2005/8/layout/vList3"/>
    <dgm:cxn modelId="{367948B0-6594-4628-B662-787423E1FC19}" type="presParOf" srcId="{8C042FD1-26B7-41EA-B9C8-1061A2A29874}" destId="{1F91DBD3-D9FD-46F3-A60C-72F236F7916C}" srcOrd="1" destOrd="0" presId="urn:microsoft.com/office/officeart/2005/8/layout/vList3"/>
    <dgm:cxn modelId="{5730CE09-13F9-4A08-A1AB-EC0BAFB21999}" type="presParOf" srcId="{8C042FD1-26B7-41EA-B9C8-1061A2A29874}" destId="{1AB50ECB-7237-43AA-9B0B-C4B41720B0D9}" srcOrd="2" destOrd="0" presId="urn:microsoft.com/office/officeart/2005/8/layout/vList3"/>
    <dgm:cxn modelId="{45522A94-083E-4010-9D21-E530C01061BA}" type="presParOf" srcId="{1AB50ECB-7237-43AA-9B0B-C4B41720B0D9}" destId="{BE72C1BE-2B00-4BA3-A9A2-25D1C8033082}" srcOrd="0" destOrd="0" presId="urn:microsoft.com/office/officeart/2005/8/layout/vList3"/>
    <dgm:cxn modelId="{AD0C92F3-F665-4716-A373-C53F4303F181}" type="presParOf" srcId="{1AB50ECB-7237-43AA-9B0B-C4B41720B0D9}" destId="{396C4469-DB6D-442E-91ED-D603C9560984}" srcOrd="1" destOrd="0" presId="urn:microsoft.com/office/officeart/2005/8/layout/vList3"/>
    <dgm:cxn modelId="{5FA5A557-4CBE-4F9D-9F1F-36644D03B628}" type="presParOf" srcId="{8C042FD1-26B7-41EA-B9C8-1061A2A29874}" destId="{3D8B136E-5CFD-40C4-96E3-46C73B65E2D3}" srcOrd="3" destOrd="0" presId="urn:microsoft.com/office/officeart/2005/8/layout/vList3"/>
    <dgm:cxn modelId="{DA9EF877-F2E3-4846-90C4-D48AADBE9BA3}" type="presParOf" srcId="{8C042FD1-26B7-41EA-B9C8-1061A2A29874}" destId="{1ADEDD34-D4AA-456C-A321-0C94335447B1}" srcOrd="4" destOrd="0" presId="urn:microsoft.com/office/officeart/2005/8/layout/vList3"/>
    <dgm:cxn modelId="{D961204F-8389-4300-AAF3-F8DAEFCB670D}" type="presParOf" srcId="{1ADEDD34-D4AA-456C-A321-0C94335447B1}" destId="{5D13F47B-30B0-4B41-B021-234516C395FA}" srcOrd="0" destOrd="0" presId="urn:microsoft.com/office/officeart/2005/8/layout/vList3"/>
    <dgm:cxn modelId="{45C020E7-BD07-4F33-AFA8-8140E26D912D}" type="presParOf" srcId="{1ADEDD34-D4AA-456C-A321-0C94335447B1}" destId="{6CF3C62A-9C77-4362-8C39-D14492C035B7}" srcOrd="1" destOrd="0" presId="urn:microsoft.com/office/officeart/2005/8/layout/vList3"/>
    <dgm:cxn modelId="{08F60342-0EB5-468D-BAF4-7E64753E29DE}" type="presParOf" srcId="{8C042FD1-26B7-41EA-B9C8-1061A2A29874}" destId="{AE4BC3AF-8226-427D-BB8A-14C6CAA5E167}" srcOrd="5" destOrd="0" presId="urn:microsoft.com/office/officeart/2005/8/layout/vList3"/>
    <dgm:cxn modelId="{FE652A3C-8430-4D35-B8AA-3FE5FCEB0524}" type="presParOf" srcId="{8C042FD1-26B7-41EA-B9C8-1061A2A29874}" destId="{DBADB25A-8C93-4880-BAF0-390ED1B0693A}" srcOrd="6" destOrd="0" presId="urn:microsoft.com/office/officeart/2005/8/layout/vList3"/>
    <dgm:cxn modelId="{CDCAC8A6-1640-4848-A0E1-890368CBDCFD}" type="presParOf" srcId="{DBADB25A-8C93-4880-BAF0-390ED1B0693A}" destId="{3AC35BCF-6443-4BB3-B467-4BE4B6A959FA}" srcOrd="0" destOrd="0" presId="urn:microsoft.com/office/officeart/2005/8/layout/vList3"/>
    <dgm:cxn modelId="{A5D9EF12-FBF2-45C4-A877-C7FDD8BAA5CE}" type="presParOf" srcId="{DBADB25A-8C93-4880-BAF0-390ED1B0693A}" destId="{1991A103-DC97-4B8D-B9D0-C24AB678E88C}" srcOrd="1" destOrd="0" presId="urn:microsoft.com/office/officeart/2005/8/layout/vList3"/>
    <dgm:cxn modelId="{1E06279F-559A-4796-80BE-A233B9AE6808}" type="presParOf" srcId="{8C042FD1-26B7-41EA-B9C8-1061A2A29874}" destId="{2278765D-AD14-40F4-A0FB-1EDD907D489C}" srcOrd="7" destOrd="0" presId="urn:microsoft.com/office/officeart/2005/8/layout/vList3"/>
    <dgm:cxn modelId="{6D780F64-8FEF-49AA-88F6-8B028C4D57AE}" type="presParOf" srcId="{8C042FD1-26B7-41EA-B9C8-1061A2A29874}" destId="{F47B9C50-1044-49CA-85FE-E5009105CC0D}" srcOrd="8" destOrd="0" presId="urn:microsoft.com/office/officeart/2005/8/layout/vList3"/>
    <dgm:cxn modelId="{A486ACE8-F0C4-4DD9-8CB9-3CB51DBAE5A7}" type="presParOf" srcId="{F47B9C50-1044-49CA-85FE-E5009105CC0D}" destId="{AD88CBF5-A4B6-4323-B358-9C79806BB8ED}" srcOrd="0" destOrd="0" presId="urn:microsoft.com/office/officeart/2005/8/layout/vList3"/>
    <dgm:cxn modelId="{F196B0EE-E9D6-4D87-8579-688C2E86F245}" type="presParOf" srcId="{F47B9C50-1044-49CA-85FE-E5009105CC0D}" destId="{3A58D11B-E6F9-4947-A600-8FC61ED76B2F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EC47828-E30F-4C51-8634-C054B30CEA78}" type="doc">
      <dgm:prSet loTypeId="urn:microsoft.com/office/officeart/2005/8/layout/lProcess2" loCatId="list" qsTypeId="urn:microsoft.com/office/officeart/2005/8/quickstyle/3d4" qsCatId="3D" csTypeId="urn:microsoft.com/office/officeart/2005/8/colors/accent0_3" csCatId="mainScheme" phldr="1"/>
      <dgm:spPr/>
      <dgm:t>
        <a:bodyPr/>
        <a:lstStyle/>
        <a:p>
          <a:endParaRPr lang="sk-SK"/>
        </a:p>
      </dgm:t>
    </dgm:pt>
    <dgm:pt modelId="{7A52CA84-B153-4037-8417-42ECE0EC60A1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Organizační bezpečnost (role)</a:t>
          </a:r>
        </a:p>
      </dgm:t>
    </dgm:pt>
    <dgm:pt modelId="{56ACF266-F619-4545-8197-6A65C8E17E76}" type="parTrans" cxnId="{E620EE52-8731-40A0-AB5E-DC12CE29C854}">
      <dgm:prSet/>
      <dgm:spPr/>
      <dgm:t>
        <a:bodyPr/>
        <a:lstStyle/>
        <a:p>
          <a:endParaRPr lang="sk-SK" i="0"/>
        </a:p>
      </dgm:t>
    </dgm:pt>
    <dgm:pt modelId="{00E94EDD-6D78-42A8-91F1-014B250167FC}" type="sibTrans" cxnId="{E620EE52-8731-40A0-AB5E-DC12CE29C854}">
      <dgm:prSet/>
      <dgm:spPr/>
      <dgm:t>
        <a:bodyPr/>
        <a:lstStyle/>
        <a:p>
          <a:endParaRPr lang="sk-SK" i="0"/>
        </a:p>
      </dgm:t>
    </dgm:pt>
    <dgm:pt modelId="{BEBEEFDF-4D2A-CF48-B9EF-E3BF4EFC1F42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Správa a ověření identit</a:t>
          </a:r>
          <a:endParaRPr lang="en-US" b="1" i="0" noProof="0" dirty="0">
            <a:solidFill>
              <a:srgbClr val="FFFFFF"/>
            </a:solidFill>
            <a:latin typeface="Tw Cen MT" panose="020B0602020104020603" pitchFamily="34" charset="-18"/>
            <a:ea typeface="Ebrima" panose="02000000000000000000" pitchFamily="2" charset="0"/>
            <a:cs typeface="Ebrima" panose="02000000000000000000" pitchFamily="2" charset="0"/>
          </a:endParaRPr>
        </a:p>
      </dgm:t>
    </dgm:pt>
    <dgm:pt modelId="{E0B83BA4-8E5A-FD48-8A00-02BEE2C02CB4}" type="parTrans" cxnId="{8BA3D359-5016-FC4F-A7E6-FB86419F8A1A}">
      <dgm:prSet/>
      <dgm:spPr/>
      <dgm:t>
        <a:bodyPr/>
        <a:lstStyle/>
        <a:p>
          <a:endParaRPr lang="en-US" i="0"/>
        </a:p>
      </dgm:t>
    </dgm:pt>
    <dgm:pt modelId="{3EFC0E29-85FC-2C4C-ABD7-C14C192A0E12}" type="sibTrans" cxnId="{8BA3D359-5016-FC4F-A7E6-FB86419F8A1A}">
      <dgm:prSet/>
      <dgm:spPr/>
      <dgm:t>
        <a:bodyPr/>
        <a:lstStyle/>
        <a:p>
          <a:endParaRPr lang="en-US" i="0"/>
        </a:p>
      </dgm:t>
    </dgm:pt>
    <dgm:pt modelId="{66875099-C05E-1C48-A5D1-E831B5CBB4AD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cs-CZ" b="1" i="0" dirty="0">
              <a:solidFill>
                <a:srgbClr val="FFFFFF"/>
              </a:solidFill>
              <a:latin typeface="Tw Cen MT" panose="020B0602020104020603" pitchFamily="34" charset="-18"/>
            </a:rPr>
            <a:t>Bezpečnost komunikačních sítí.</a:t>
          </a:r>
          <a:endParaRPr lang="cs-CZ" b="1" i="0" noProof="0" dirty="0">
            <a:solidFill>
              <a:srgbClr val="FFFFFF"/>
            </a:solidFill>
            <a:latin typeface="Tw Cen MT" panose="020B0602020104020603" pitchFamily="34" charset="-18"/>
            <a:ea typeface="Ebrima" panose="02000000000000000000" pitchFamily="2" charset="0"/>
            <a:cs typeface="Ebrima" panose="02000000000000000000" pitchFamily="2" charset="0"/>
          </a:endParaRPr>
        </a:p>
      </dgm:t>
    </dgm:pt>
    <dgm:pt modelId="{ADFAB633-9351-C84D-97CC-CCF0C35E2019}" type="parTrans" cxnId="{90BA91C6-E367-CD4B-9964-F061F5AE37AC}">
      <dgm:prSet/>
      <dgm:spPr/>
      <dgm:t>
        <a:bodyPr/>
        <a:lstStyle/>
        <a:p>
          <a:endParaRPr lang="en-US" i="0"/>
        </a:p>
      </dgm:t>
    </dgm:pt>
    <dgm:pt modelId="{5ED75014-7793-5C44-B375-E5C6A1806C9F}" type="sibTrans" cxnId="{90BA91C6-E367-CD4B-9964-F061F5AE37AC}">
      <dgm:prSet/>
      <dgm:spPr/>
      <dgm:t>
        <a:bodyPr/>
        <a:lstStyle/>
        <a:p>
          <a:endParaRPr lang="en-US" i="0"/>
        </a:p>
      </dgm:t>
    </dgm:pt>
    <dgm:pt modelId="{AE2E23BD-E513-4338-98BB-0F85005311CE}">
      <dgm:prSet/>
      <dgm:spPr>
        <a:solidFill>
          <a:srgbClr val="FFFFFF"/>
        </a:solidFill>
        <a:ln>
          <a:solidFill>
            <a:schemeClr val="bg1"/>
          </a:solidFill>
        </a:ln>
      </dgm:spPr>
      <dgm:t>
        <a:bodyPr/>
        <a:lstStyle/>
        <a:p>
          <a:pPr rtl="0"/>
          <a:r>
            <a:rPr lang="cs-CZ" b="1" i="0" noProof="0" dirty="0">
              <a:solidFill>
                <a:srgbClr val="FF0000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Nástroje</a:t>
          </a:r>
        </a:p>
      </dgm:t>
    </dgm:pt>
    <dgm:pt modelId="{EC4D4DF6-F32A-45C8-93A4-F9F4AC8E03F9}" type="sibTrans" cxnId="{71A56085-E9B3-42CC-BD18-BB7A7FA2BAB8}">
      <dgm:prSet/>
      <dgm:spPr/>
      <dgm:t>
        <a:bodyPr/>
        <a:lstStyle/>
        <a:p>
          <a:endParaRPr lang="sk-SK" i="0"/>
        </a:p>
      </dgm:t>
    </dgm:pt>
    <dgm:pt modelId="{6EE18FAA-B147-430F-9CD5-6A00DE348E62}" type="parTrans" cxnId="{71A56085-E9B3-42CC-BD18-BB7A7FA2BAB8}">
      <dgm:prSet/>
      <dgm:spPr/>
      <dgm:t>
        <a:bodyPr/>
        <a:lstStyle/>
        <a:p>
          <a:endParaRPr lang="sk-SK" i="0"/>
        </a:p>
      </dgm:t>
    </dgm:pt>
    <dgm:pt modelId="{22C606A9-00C3-469A-A174-CAA07BB78D1C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Záznam událostí ICT, sběr a vyhodnocení</a:t>
          </a:r>
        </a:p>
      </dgm:t>
    </dgm:pt>
    <dgm:pt modelId="{074F6FB1-66F6-4451-9D85-F80AFB04B0A4}" type="parTrans" cxnId="{2E40556D-E9C8-4130-812E-8B3E7232E6DE}">
      <dgm:prSet/>
      <dgm:spPr/>
      <dgm:t>
        <a:bodyPr/>
        <a:lstStyle/>
        <a:p>
          <a:endParaRPr lang="cs-CZ" i="0"/>
        </a:p>
      </dgm:t>
    </dgm:pt>
    <dgm:pt modelId="{5B1F8476-8A97-4B10-8716-33AAFB8DAF86}" type="sibTrans" cxnId="{2E40556D-E9C8-4130-812E-8B3E7232E6DE}">
      <dgm:prSet/>
      <dgm:spPr/>
      <dgm:t>
        <a:bodyPr/>
        <a:lstStyle/>
        <a:p>
          <a:endParaRPr lang="cs-CZ" i="0"/>
        </a:p>
      </dgm:t>
    </dgm:pt>
    <dgm:pt modelId="{4ED6D318-629A-3F44-8227-AF23181064A1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r>
            <a:rPr lang="cs-CZ" b="1" i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Fyzická bezpečnost</a:t>
          </a:r>
        </a:p>
      </dgm:t>
    </dgm:pt>
    <dgm:pt modelId="{3CD8E429-AB2F-5B43-A878-3A828B755291}" type="parTrans" cxnId="{1D1AB818-3550-A74F-BBF2-972E8C3D2B52}">
      <dgm:prSet/>
      <dgm:spPr/>
      <dgm:t>
        <a:bodyPr/>
        <a:lstStyle/>
        <a:p>
          <a:endParaRPr lang="cs-CZ" i="0"/>
        </a:p>
      </dgm:t>
    </dgm:pt>
    <dgm:pt modelId="{5A2E7203-8F04-7744-B487-5E9D60EF5785}" type="sibTrans" cxnId="{1D1AB818-3550-A74F-BBF2-972E8C3D2B52}">
      <dgm:prSet/>
      <dgm:spPr/>
      <dgm:t>
        <a:bodyPr/>
        <a:lstStyle/>
        <a:p>
          <a:endParaRPr lang="cs-CZ" i="0"/>
        </a:p>
      </dgm:t>
    </dgm:pt>
    <dgm:pt modelId="{A53EC3E8-7E14-4EB0-AA21-170C8A5128F5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Zvládání bezpečnostních událostí a incidentu</a:t>
          </a:r>
        </a:p>
      </dgm:t>
    </dgm:pt>
    <dgm:pt modelId="{DD380D48-B9A9-41CC-A360-DE8FFF7FC853}" type="parTrans" cxnId="{3A9F60CE-AE8A-42F5-8C66-83527A63B9EB}">
      <dgm:prSet/>
      <dgm:spPr/>
      <dgm:t>
        <a:bodyPr/>
        <a:lstStyle/>
        <a:p>
          <a:endParaRPr lang="cs-CZ" i="0"/>
        </a:p>
      </dgm:t>
    </dgm:pt>
    <dgm:pt modelId="{E27B79C3-8A9F-4083-8B2E-93E97E91F3F5}" type="sibTrans" cxnId="{3A9F60CE-AE8A-42F5-8C66-83527A63B9EB}">
      <dgm:prSet/>
      <dgm:spPr/>
      <dgm:t>
        <a:bodyPr/>
        <a:lstStyle/>
        <a:p>
          <a:endParaRPr lang="cs-CZ" i="0"/>
        </a:p>
      </dgm:t>
    </dgm:pt>
    <dgm:pt modelId="{AFEC3604-3345-7C4A-80AD-3A0725DCC358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Řízení dodavatelů, zdrojů, provozu</a:t>
          </a:r>
        </a:p>
      </dgm:t>
    </dgm:pt>
    <dgm:pt modelId="{204009EA-5EBF-5E4D-89F9-867F215D0688}" type="sibTrans" cxnId="{8E3FFE49-2968-DB4B-AEA5-01D8809D1C8A}">
      <dgm:prSet/>
      <dgm:spPr/>
      <dgm:t>
        <a:bodyPr/>
        <a:lstStyle/>
        <a:p>
          <a:endParaRPr lang="en-US" i="0"/>
        </a:p>
      </dgm:t>
    </dgm:pt>
    <dgm:pt modelId="{2F01EC7B-8293-0D41-937B-0BEFD9039E77}" type="parTrans" cxnId="{8E3FFE49-2968-DB4B-AEA5-01D8809D1C8A}">
      <dgm:prSet/>
      <dgm:spPr/>
      <dgm:t>
        <a:bodyPr/>
        <a:lstStyle/>
        <a:p>
          <a:endParaRPr lang="en-US" i="0"/>
        </a:p>
      </dgm:t>
    </dgm:pt>
    <dgm:pt modelId="{B850637D-C96A-4A45-92CD-662A1EF4A5D0}">
      <dgm:prSet/>
      <dgm:spPr>
        <a:solidFill>
          <a:srgbClr val="FFFFFF"/>
        </a:solidFill>
        <a:ln>
          <a:solidFill>
            <a:schemeClr val="bg1"/>
          </a:solidFill>
        </a:ln>
      </dgm:spPr>
      <dgm:t>
        <a:bodyPr/>
        <a:lstStyle/>
        <a:p>
          <a:pPr rtl="0"/>
          <a:r>
            <a:rPr lang="cs-CZ" b="1" i="0" noProof="0" dirty="0">
              <a:solidFill>
                <a:srgbClr val="FF0000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Procesy</a:t>
          </a:r>
        </a:p>
      </dgm:t>
    </dgm:pt>
    <dgm:pt modelId="{C478C22C-34A4-4772-AC9E-8CFC657F5562}" type="sibTrans" cxnId="{AB5E92E5-D268-4AB5-9E61-25E993F1F53E}">
      <dgm:prSet/>
      <dgm:spPr/>
      <dgm:t>
        <a:bodyPr/>
        <a:lstStyle/>
        <a:p>
          <a:endParaRPr lang="sk-SK" i="0"/>
        </a:p>
      </dgm:t>
    </dgm:pt>
    <dgm:pt modelId="{8CBC5787-AC99-4CBB-8A5D-8FAC6D60D032}" type="parTrans" cxnId="{AB5E92E5-D268-4AB5-9E61-25E993F1F53E}">
      <dgm:prSet/>
      <dgm:spPr/>
      <dgm:t>
        <a:bodyPr/>
        <a:lstStyle/>
        <a:p>
          <a:endParaRPr lang="sk-SK" i="0"/>
        </a:p>
      </dgm:t>
    </dgm:pt>
    <dgm:pt modelId="{24CBEE8A-7C37-4EE2-B3AE-A1EA918F95AE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Řízení bezpečnosti informaci</a:t>
          </a:r>
          <a:endParaRPr lang="en-US" b="1" i="0" noProof="0" dirty="0">
            <a:solidFill>
              <a:srgbClr val="FFFFFF"/>
            </a:solidFill>
            <a:latin typeface="Tw Cen MT" panose="020B0602020104020603" pitchFamily="34" charset="-18"/>
            <a:ea typeface="Ebrima" panose="02000000000000000000" pitchFamily="2" charset="0"/>
            <a:cs typeface="Ebrima" panose="02000000000000000000" pitchFamily="2" charset="0"/>
          </a:endParaRPr>
        </a:p>
      </dgm:t>
    </dgm:pt>
    <dgm:pt modelId="{AE9A6E51-FA3F-4CA8-8575-5BAF51F88C45}" type="parTrans" cxnId="{A45FC6E6-F871-46C4-8D4C-478CB769731C}">
      <dgm:prSet/>
      <dgm:spPr/>
      <dgm:t>
        <a:bodyPr/>
        <a:lstStyle/>
        <a:p>
          <a:endParaRPr lang="sk-SK" i="0"/>
        </a:p>
      </dgm:t>
    </dgm:pt>
    <dgm:pt modelId="{7744026B-29CE-4F8F-BCC5-EB6A9A4FBF00}" type="sibTrans" cxnId="{A45FC6E6-F871-46C4-8D4C-478CB769731C}">
      <dgm:prSet/>
      <dgm:spPr/>
      <dgm:t>
        <a:bodyPr/>
        <a:lstStyle/>
        <a:p>
          <a:endParaRPr lang="sk-SK" i="0"/>
        </a:p>
      </dgm:t>
    </dgm:pt>
    <dgm:pt modelId="{3802456C-C34D-41B5-AE03-566C1DE88A67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Řízení kontinuity činnosti </a:t>
          </a:r>
        </a:p>
      </dgm:t>
    </dgm:pt>
    <dgm:pt modelId="{804A1CF8-85DF-4034-A287-22FD8CE49E95}" type="parTrans" cxnId="{578C8209-6395-4570-8907-B86C45184D97}">
      <dgm:prSet/>
      <dgm:spPr/>
      <dgm:t>
        <a:bodyPr/>
        <a:lstStyle/>
        <a:p>
          <a:endParaRPr lang="sk-SK" i="0"/>
        </a:p>
      </dgm:t>
    </dgm:pt>
    <dgm:pt modelId="{7A558896-58D8-43D4-BEBB-8FB51319CBC3}" type="sibTrans" cxnId="{578C8209-6395-4570-8907-B86C45184D97}">
      <dgm:prSet/>
      <dgm:spPr/>
      <dgm:t>
        <a:bodyPr/>
        <a:lstStyle/>
        <a:p>
          <a:endParaRPr lang="sk-SK" i="0"/>
        </a:p>
      </dgm:t>
    </dgm:pt>
    <dgm:pt modelId="{B2C8B97A-6448-4491-834D-EAF9E6B58BF2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Řízení přístupů</a:t>
          </a:r>
        </a:p>
      </dgm:t>
    </dgm:pt>
    <dgm:pt modelId="{CAACBB6C-FFB3-404F-8376-B2A3A276C579}" type="parTrans" cxnId="{862C0045-C20E-44DA-BE75-D61BBB9158F2}">
      <dgm:prSet/>
      <dgm:spPr/>
      <dgm:t>
        <a:bodyPr/>
        <a:lstStyle/>
        <a:p>
          <a:endParaRPr lang="sk-SK" i="0"/>
        </a:p>
      </dgm:t>
    </dgm:pt>
    <dgm:pt modelId="{6563D796-A4E1-4A71-8235-25912FAA200A}" type="sibTrans" cxnId="{862C0045-C20E-44DA-BE75-D61BBB9158F2}">
      <dgm:prSet/>
      <dgm:spPr/>
      <dgm:t>
        <a:bodyPr/>
        <a:lstStyle/>
        <a:p>
          <a:endParaRPr lang="sk-SK" i="0"/>
        </a:p>
      </dgm:t>
    </dgm:pt>
    <dgm:pt modelId="{4A417B2C-D01E-4A5C-9DC8-021B2C13129D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Ochrana před škodlivým kódem</a:t>
          </a:r>
          <a:endParaRPr lang="en-US" b="1" i="0" noProof="0" dirty="0">
            <a:solidFill>
              <a:srgbClr val="FFFFFF"/>
            </a:solidFill>
            <a:latin typeface="Tw Cen MT" panose="020B0602020104020603" pitchFamily="34" charset="-18"/>
            <a:ea typeface="Ebrima" panose="02000000000000000000" pitchFamily="2" charset="0"/>
            <a:cs typeface="Ebrima" panose="02000000000000000000" pitchFamily="2" charset="0"/>
          </a:endParaRPr>
        </a:p>
      </dgm:t>
    </dgm:pt>
    <dgm:pt modelId="{4642E998-B791-4C90-A817-02B68A9CFF1D}" type="parTrans" cxnId="{7EE5A530-2A6A-4D6B-94AB-3C2845460DC2}">
      <dgm:prSet/>
      <dgm:spPr/>
      <dgm:t>
        <a:bodyPr/>
        <a:lstStyle/>
        <a:p>
          <a:endParaRPr lang="sk-SK" i="0"/>
        </a:p>
      </dgm:t>
    </dgm:pt>
    <dgm:pt modelId="{CEE4B2BB-9675-4F79-B131-022391AA82F3}" type="sibTrans" cxnId="{7EE5A530-2A6A-4D6B-94AB-3C2845460DC2}">
      <dgm:prSet/>
      <dgm:spPr/>
      <dgm:t>
        <a:bodyPr/>
        <a:lstStyle/>
        <a:p>
          <a:endParaRPr lang="sk-SK" i="0"/>
        </a:p>
      </dgm:t>
    </dgm:pt>
    <dgm:pt modelId="{F49B66C4-5324-4E09-BA46-1A39BC8518D3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Detekce kybernetických bez. událostí</a:t>
          </a:r>
        </a:p>
      </dgm:t>
    </dgm:pt>
    <dgm:pt modelId="{24564914-F5DF-4C0A-80D7-769550E46EBC}" type="parTrans" cxnId="{6A1F0107-4A19-434A-A935-3472DDB785EE}">
      <dgm:prSet/>
      <dgm:spPr/>
      <dgm:t>
        <a:bodyPr/>
        <a:lstStyle/>
        <a:p>
          <a:endParaRPr lang="sk-SK" i="0"/>
        </a:p>
      </dgm:t>
    </dgm:pt>
    <dgm:pt modelId="{95780041-CF4D-42C6-8195-C965719ADF7C}" type="sibTrans" cxnId="{6A1F0107-4A19-434A-A935-3472DDB785EE}">
      <dgm:prSet/>
      <dgm:spPr/>
      <dgm:t>
        <a:bodyPr/>
        <a:lstStyle/>
        <a:p>
          <a:endParaRPr lang="sk-SK" i="0"/>
        </a:p>
      </dgm:t>
    </dgm:pt>
    <dgm:pt modelId="{E00AED95-A3A0-4088-A7BC-E49BFB0C6E4A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Kryptografické prostředky</a:t>
          </a:r>
        </a:p>
      </dgm:t>
    </dgm:pt>
    <dgm:pt modelId="{D47F1C45-4B5B-445A-AC20-29E9313805E6}" type="parTrans" cxnId="{6065FBDE-04A8-4681-9BFA-60A1AE3DE4EF}">
      <dgm:prSet/>
      <dgm:spPr/>
      <dgm:t>
        <a:bodyPr/>
        <a:lstStyle/>
        <a:p>
          <a:endParaRPr lang="sk-SK" i="0"/>
        </a:p>
      </dgm:t>
    </dgm:pt>
    <dgm:pt modelId="{F6DEC682-34E6-42C6-94CA-FDF2FB08F1B2}" type="sibTrans" cxnId="{6065FBDE-04A8-4681-9BFA-60A1AE3DE4EF}">
      <dgm:prSet/>
      <dgm:spPr/>
      <dgm:t>
        <a:bodyPr/>
        <a:lstStyle/>
        <a:p>
          <a:endParaRPr lang="sk-SK" i="0"/>
        </a:p>
      </dgm:t>
    </dgm:pt>
    <dgm:pt modelId="{B0D4054E-CF93-495D-8DFD-1E55BAB5A8FC}">
      <dgm:prSet/>
      <dgm:spPr>
        <a:solidFill>
          <a:srgbClr val="FFFFFF"/>
        </a:solidFill>
        <a:ln>
          <a:solidFill>
            <a:schemeClr val="tx1"/>
          </a:solidFill>
        </a:ln>
      </dgm:spPr>
      <dgm:t>
        <a:bodyPr/>
        <a:lstStyle/>
        <a:p>
          <a:pPr rtl="0"/>
          <a:r>
            <a:rPr lang="cs-CZ" b="1" i="0" noProof="0" dirty="0">
              <a:solidFill>
                <a:srgbClr val="FF0000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Lidé</a:t>
          </a:r>
        </a:p>
      </dgm:t>
    </dgm:pt>
    <dgm:pt modelId="{BFCE4052-0185-4F4B-ACAD-70311F4697CB}" type="parTrans" cxnId="{C34810D3-2D4B-4946-B56D-C63E4069CB2A}">
      <dgm:prSet/>
      <dgm:spPr/>
      <dgm:t>
        <a:bodyPr/>
        <a:lstStyle/>
        <a:p>
          <a:endParaRPr lang="cs-CZ" i="0"/>
        </a:p>
      </dgm:t>
    </dgm:pt>
    <dgm:pt modelId="{E2ED9F0A-1A63-4592-95E2-B8455B90229B}" type="sibTrans" cxnId="{C34810D3-2D4B-4946-B56D-C63E4069CB2A}">
      <dgm:prSet/>
      <dgm:spPr/>
      <dgm:t>
        <a:bodyPr/>
        <a:lstStyle/>
        <a:p>
          <a:endParaRPr lang="cs-CZ" i="0"/>
        </a:p>
      </dgm:t>
    </dgm:pt>
    <dgm:pt modelId="{06B5C771-BEB0-415D-8D13-FB4599C0474B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Manažerské zajištění (odpovědnost)</a:t>
          </a:r>
        </a:p>
      </dgm:t>
    </dgm:pt>
    <dgm:pt modelId="{41566CC4-B30D-4E07-915A-37297F8F5568}" type="parTrans" cxnId="{2D21DA53-FA7C-4DFB-9277-6095D8F4F479}">
      <dgm:prSet/>
      <dgm:spPr/>
      <dgm:t>
        <a:bodyPr/>
        <a:lstStyle/>
        <a:p>
          <a:endParaRPr lang="cs-CZ" i="0"/>
        </a:p>
      </dgm:t>
    </dgm:pt>
    <dgm:pt modelId="{FAE909E8-BB0A-413B-B59C-354F40E00DAF}" type="sibTrans" cxnId="{2D21DA53-FA7C-4DFB-9277-6095D8F4F479}">
      <dgm:prSet/>
      <dgm:spPr/>
      <dgm:t>
        <a:bodyPr/>
        <a:lstStyle/>
        <a:p>
          <a:endParaRPr lang="cs-CZ" i="0"/>
        </a:p>
      </dgm:t>
    </dgm:pt>
    <dgm:pt modelId="{E63669A3-7A75-4D55-B685-27E021D54474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Interní zdroje </a:t>
          </a:r>
        </a:p>
        <a:p>
          <a:pPr rtl="0"/>
          <a:r>
            <a:rPr lang="cs-CZ" b="1" i="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(oddělení ICT)</a:t>
          </a:r>
        </a:p>
      </dgm:t>
    </dgm:pt>
    <dgm:pt modelId="{D81A9140-AA4E-4AB7-9341-DB54B85431B6}" type="parTrans" cxnId="{F1EA7ED8-50E2-4241-A9DE-F7B4BABE2A19}">
      <dgm:prSet/>
      <dgm:spPr/>
      <dgm:t>
        <a:bodyPr/>
        <a:lstStyle/>
        <a:p>
          <a:endParaRPr lang="cs-CZ" i="0"/>
        </a:p>
      </dgm:t>
    </dgm:pt>
    <dgm:pt modelId="{64DBD494-AABA-4B5B-B670-C9D998939D45}" type="sibTrans" cxnId="{F1EA7ED8-50E2-4241-A9DE-F7B4BABE2A19}">
      <dgm:prSet/>
      <dgm:spPr/>
      <dgm:t>
        <a:bodyPr/>
        <a:lstStyle/>
        <a:p>
          <a:endParaRPr lang="cs-CZ" i="0"/>
        </a:p>
      </dgm:t>
    </dgm:pt>
    <dgm:pt modelId="{C85E2352-98FF-4784-A036-6E73A97F5740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pPr rtl="0"/>
          <a:r>
            <a:rPr lang="cs-CZ" b="1" i="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Externí zdroje </a:t>
          </a:r>
        </a:p>
        <a:p>
          <a:pPr rtl="0"/>
          <a:r>
            <a:rPr lang="cs-CZ" b="1" i="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(konzultanti, služby SOC)</a:t>
          </a:r>
        </a:p>
      </dgm:t>
    </dgm:pt>
    <dgm:pt modelId="{A8FBF828-D220-4DBB-AE32-3A0578BF1E8C}" type="parTrans" cxnId="{103A3B64-714A-4096-BDEB-FBA17217188A}">
      <dgm:prSet/>
      <dgm:spPr/>
      <dgm:t>
        <a:bodyPr/>
        <a:lstStyle/>
        <a:p>
          <a:endParaRPr lang="cs-CZ" i="0"/>
        </a:p>
      </dgm:t>
    </dgm:pt>
    <dgm:pt modelId="{95541E19-D014-48BA-B690-B6A840D4AE72}" type="sibTrans" cxnId="{103A3B64-714A-4096-BDEB-FBA17217188A}">
      <dgm:prSet/>
      <dgm:spPr/>
      <dgm:t>
        <a:bodyPr/>
        <a:lstStyle/>
        <a:p>
          <a:endParaRPr lang="cs-CZ" i="0"/>
        </a:p>
      </dgm:t>
    </dgm:pt>
    <dgm:pt modelId="{6A6F0669-57B0-493C-87C5-41947BB3BC71}" type="pres">
      <dgm:prSet presAssocID="{BEC47828-E30F-4C51-8634-C054B30CEA78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cs-CZ"/>
        </a:p>
      </dgm:t>
    </dgm:pt>
    <dgm:pt modelId="{0C342E07-A45F-4905-B4E2-61220150C3C0}" type="pres">
      <dgm:prSet presAssocID="{B850637D-C96A-4A45-92CD-662A1EF4A5D0}" presName="compNode" presStyleCnt="0"/>
      <dgm:spPr/>
    </dgm:pt>
    <dgm:pt modelId="{8BAE3201-9F18-4662-B3FC-03A7E2AD7B21}" type="pres">
      <dgm:prSet presAssocID="{B850637D-C96A-4A45-92CD-662A1EF4A5D0}" presName="aNode" presStyleLbl="bgShp" presStyleIdx="0" presStyleCnt="3"/>
      <dgm:spPr/>
      <dgm:t>
        <a:bodyPr/>
        <a:lstStyle/>
        <a:p>
          <a:endParaRPr lang="cs-CZ"/>
        </a:p>
      </dgm:t>
    </dgm:pt>
    <dgm:pt modelId="{A6F9B62A-9473-49AE-A152-0ACA5967AD52}" type="pres">
      <dgm:prSet presAssocID="{B850637D-C96A-4A45-92CD-662A1EF4A5D0}" presName="textNode" presStyleLbl="bgShp" presStyleIdx="0" presStyleCnt="3"/>
      <dgm:spPr/>
      <dgm:t>
        <a:bodyPr/>
        <a:lstStyle/>
        <a:p>
          <a:endParaRPr lang="cs-CZ"/>
        </a:p>
      </dgm:t>
    </dgm:pt>
    <dgm:pt modelId="{8FFC643B-F670-44B1-8594-9A7AAECD7454}" type="pres">
      <dgm:prSet presAssocID="{B850637D-C96A-4A45-92CD-662A1EF4A5D0}" presName="compChildNode" presStyleCnt="0"/>
      <dgm:spPr/>
    </dgm:pt>
    <dgm:pt modelId="{83CD7093-ABED-4D8E-9BA2-38300B2C02A3}" type="pres">
      <dgm:prSet presAssocID="{B850637D-C96A-4A45-92CD-662A1EF4A5D0}" presName="theInnerList" presStyleCnt="0"/>
      <dgm:spPr/>
    </dgm:pt>
    <dgm:pt modelId="{AB5F6958-2459-4DD5-B8CA-E87497F23653}" type="pres">
      <dgm:prSet presAssocID="{24CBEE8A-7C37-4EE2-B3AE-A1EA918F95AE}" presName="childNode" presStyleLbl="node1" presStyleIdx="0" presStyleCnt="16" custLinFactNeighborX="-398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32020D3F-FE33-4642-AF3D-FF3F1E39A82C}" type="pres">
      <dgm:prSet presAssocID="{24CBEE8A-7C37-4EE2-B3AE-A1EA918F95AE}" presName="aSpace2" presStyleCnt="0"/>
      <dgm:spPr/>
    </dgm:pt>
    <dgm:pt modelId="{70710E96-8336-46C6-87C7-73A3E1CC7191}" type="pres">
      <dgm:prSet presAssocID="{7A52CA84-B153-4037-8417-42ECE0EC60A1}" presName="childNode" presStyleLbl="node1" presStyleIdx="1" presStyleCnt="16" custLinFactNeighborX="-398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7C928F39-E5BF-4790-ACEA-F2EB03D36F69}" type="pres">
      <dgm:prSet presAssocID="{7A52CA84-B153-4037-8417-42ECE0EC60A1}" presName="aSpace2" presStyleCnt="0"/>
      <dgm:spPr/>
    </dgm:pt>
    <dgm:pt modelId="{3369783A-95A8-4EC8-B7E3-BB1FF0B38BDF}" type="pres">
      <dgm:prSet presAssocID="{AFEC3604-3345-7C4A-80AD-3A0725DCC358}" presName="childNode" presStyleLbl="node1" presStyleIdx="2" presStyleCnt="16" custLinFactNeighborX="-398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1530397E-5B28-440D-AB65-FF80139D0CF7}" type="pres">
      <dgm:prSet presAssocID="{AFEC3604-3345-7C4A-80AD-3A0725DCC358}" presName="aSpace2" presStyleCnt="0"/>
      <dgm:spPr/>
    </dgm:pt>
    <dgm:pt modelId="{0A573155-5BCF-4ACD-AB2F-16FE7EF4BD5D}" type="pres">
      <dgm:prSet presAssocID="{B2C8B97A-6448-4491-834D-EAF9E6B58BF2}" presName="childNode" presStyleLbl="node1" presStyleIdx="3" presStyleCnt="16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4020B8F1-3508-4904-B57C-85F0F6C3CE33}" type="pres">
      <dgm:prSet presAssocID="{B2C8B97A-6448-4491-834D-EAF9E6B58BF2}" presName="aSpace2" presStyleCnt="0"/>
      <dgm:spPr/>
    </dgm:pt>
    <dgm:pt modelId="{625D4F7D-3206-4B64-9401-2E3B2E33EF1A}" type="pres">
      <dgm:prSet presAssocID="{3802456C-C34D-41B5-AE03-566C1DE88A67}" presName="childNode" presStyleLbl="node1" presStyleIdx="4" presStyleCnt="16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6CCF8BE3-A26A-4638-BE33-8A1C22AAC48F}" type="pres">
      <dgm:prSet presAssocID="{3802456C-C34D-41B5-AE03-566C1DE88A67}" presName="aSpace2" presStyleCnt="0"/>
      <dgm:spPr/>
    </dgm:pt>
    <dgm:pt modelId="{D48D90A8-40B9-4185-ADD4-DB4256DD7818}" type="pres">
      <dgm:prSet presAssocID="{A53EC3E8-7E14-4EB0-AA21-170C8A5128F5}" presName="childNode" presStyleLbl="node1" presStyleIdx="5" presStyleCnt="16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91E6AEA2-BB7A-44A6-985A-C8345D0EC003}" type="pres">
      <dgm:prSet presAssocID="{B850637D-C96A-4A45-92CD-662A1EF4A5D0}" presName="aSpace" presStyleCnt="0"/>
      <dgm:spPr/>
    </dgm:pt>
    <dgm:pt modelId="{A37DFE0A-77C5-4F92-8CC7-5FACB4CA7DB7}" type="pres">
      <dgm:prSet presAssocID="{AE2E23BD-E513-4338-98BB-0F85005311CE}" presName="compNode" presStyleCnt="0"/>
      <dgm:spPr/>
    </dgm:pt>
    <dgm:pt modelId="{E7564195-B13F-4D5F-983C-BC18B767712A}" type="pres">
      <dgm:prSet presAssocID="{AE2E23BD-E513-4338-98BB-0F85005311CE}" presName="aNode" presStyleLbl="bgShp" presStyleIdx="1" presStyleCnt="3" custLinFactNeighborY="224"/>
      <dgm:spPr/>
      <dgm:t>
        <a:bodyPr/>
        <a:lstStyle/>
        <a:p>
          <a:endParaRPr lang="cs-CZ"/>
        </a:p>
      </dgm:t>
    </dgm:pt>
    <dgm:pt modelId="{604495C2-7E51-4785-A7E8-4A762528B412}" type="pres">
      <dgm:prSet presAssocID="{AE2E23BD-E513-4338-98BB-0F85005311CE}" presName="textNode" presStyleLbl="bgShp" presStyleIdx="1" presStyleCnt="3"/>
      <dgm:spPr/>
      <dgm:t>
        <a:bodyPr/>
        <a:lstStyle/>
        <a:p>
          <a:endParaRPr lang="cs-CZ"/>
        </a:p>
      </dgm:t>
    </dgm:pt>
    <dgm:pt modelId="{BC65F0DC-6069-42CC-9973-80501EED0DAD}" type="pres">
      <dgm:prSet presAssocID="{AE2E23BD-E513-4338-98BB-0F85005311CE}" presName="compChildNode" presStyleCnt="0"/>
      <dgm:spPr/>
    </dgm:pt>
    <dgm:pt modelId="{4BB341F7-E41A-4E60-8C8E-9806514DF238}" type="pres">
      <dgm:prSet presAssocID="{AE2E23BD-E513-4338-98BB-0F85005311CE}" presName="theInnerList" presStyleCnt="0"/>
      <dgm:spPr/>
    </dgm:pt>
    <dgm:pt modelId="{93FE7F8B-D97A-4D05-A29F-28CECBC04D06}" type="pres">
      <dgm:prSet presAssocID="{4ED6D318-629A-3F44-8227-AF23181064A1}" presName="childNode" presStyleLbl="node1" presStyleIdx="6" presStyleCnt="16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4AB2E473-3E97-4C0C-BD0A-A2B454232DA2}" type="pres">
      <dgm:prSet presAssocID="{4ED6D318-629A-3F44-8227-AF23181064A1}" presName="aSpace2" presStyleCnt="0"/>
      <dgm:spPr/>
    </dgm:pt>
    <dgm:pt modelId="{622AF4A0-2B22-42B8-9B02-FD64E9B3A403}" type="pres">
      <dgm:prSet presAssocID="{66875099-C05E-1C48-A5D1-E831B5CBB4AD}" presName="childNode" presStyleLbl="node1" presStyleIdx="7" presStyleCnt="16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503C33EC-4FC8-4D33-924A-99D662442C33}" type="pres">
      <dgm:prSet presAssocID="{66875099-C05E-1C48-A5D1-E831B5CBB4AD}" presName="aSpace2" presStyleCnt="0"/>
      <dgm:spPr/>
    </dgm:pt>
    <dgm:pt modelId="{2C6F2F0D-C809-46A3-B29A-D5015E30C177}" type="pres">
      <dgm:prSet presAssocID="{BEBEEFDF-4D2A-CF48-B9EF-E3BF4EFC1F42}" presName="childNode" presStyleLbl="node1" presStyleIdx="8" presStyleCnt="16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D3DF318E-F2F6-4BEC-B488-2AC38EEE95BE}" type="pres">
      <dgm:prSet presAssocID="{BEBEEFDF-4D2A-CF48-B9EF-E3BF4EFC1F42}" presName="aSpace2" presStyleCnt="0"/>
      <dgm:spPr/>
    </dgm:pt>
    <dgm:pt modelId="{72723580-1BB1-44BA-B3E5-DE9414412DA5}" type="pres">
      <dgm:prSet presAssocID="{4A417B2C-D01E-4A5C-9DC8-021B2C13129D}" presName="childNode" presStyleLbl="node1" presStyleIdx="9" presStyleCnt="16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32B2ECBA-96FE-4644-9241-F5509E03545F}" type="pres">
      <dgm:prSet presAssocID="{4A417B2C-D01E-4A5C-9DC8-021B2C13129D}" presName="aSpace2" presStyleCnt="0"/>
      <dgm:spPr/>
    </dgm:pt>
    <dgm:pt modelId="{EC0E4679-DF4B-4839-9335-EE4E137FF4A7}" type="pres">
      <dgm:prSet presAssocID="{22C606A9-00C3-469A-A174-CAA07BB78D1C}" presName="childNode" presStyleLbl="node1" presStyleIdx="10" presStyleCnt="16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0BA27C2B-6D65-4E6A-89F0-C9AB4CEE53DE}" type="pres">
      <dgm:prSet presAssocID="{22C606A9-00C3-469A-A174-CAA07BB78D1C}" presName="aSpace2" presStyleCnt="0"/>
      <dgm:spPr/>
    </dgm:pt>
    <dgm:pt modelId="{52B3ADAF-1D5E-422C-A4E3-FE394C723AF2}" type="pres">
      <dgm:prSet presAssocID="{F49B66C4-5324-4E09-BA46-1A39BC8518D3}" presName="childNode" presStyleLbl="node1" presStyleIdx="11" presStyleCnt="16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50C021E1-33B5-4CDF-B31B-265244FFEC08}" type="pres">
      <dgm:prSet presAssocID="{F49B66C4-5324-4E09-BA46-1A39BC8518D3}" presName="aSpace2" presStyleCnt="0"/>
      <dgm:spPr/>
    </dgm:pt>
    <dgm:pt modelId="{F420B201-4211-41B5-8B8D-A07329D2E300}" type="pres">
      <dgm:prSet presAssocID="{E00AED95-A3A0-4088-A7BC-E49BFB0C6E4A}" presName="childNode" presStyleLbl="node1" presStyleIdx="12" presStyleCnt="16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37341531-BA4C-4666-98ED-D60132C7747A}" type="pres">
      <dgm:prSet presAssocID="{AE2E23BD-E513-4338-98BB-0F85005311CE}" presName="aSpace" presStyleCnt="0"/>
      <dgm:spPr/>
    </dgm:pt>
    <dgm:pt modelId="{2748D7EA-DF39-4F54-A6C8-4D6EC986BD34}" type="pres">
      <dgm:prSet presAssocID="{B0D4054E-CF93-495D-8DFD-1E55BAB5A8FC}" presName="compNode" presStyleCnt="0"/>
      <dgm:spPr/>
    </dgm:pt>
    <dgm:pt modelId="{CDE36B7A-A8A1-4FAE-B981-22EC07E4F40C}" type="pres">
      <dgm:prSet presAssocID="{B0D4054E-CF93-495D-8DFD-1E55BAB5A8FC}" presName="aNode" presStyleLbl="bgShp" presStyleIdx="2" presStyleCnt="3" custLinFactNeighborY="224"/>
      <dgm:spPr/>
      <dgm:t>
        <a:bodyPr/>
        <a:lstStyle/>
        <a:p>
          <a:endParaRPr lang="cs-CZ"/>
        </a:p>
      </dgm:t>
    </dgm:pt>
    <dgm:pt modelId="{8C2FD3A2-7ACB-4A64-8EE5-648C6F200288}" type="pres">
      <dgm:prSet presAssocID="{B0D4054E-CF93-495D-8DFD-1E55BAB5A8FC}" presName="textNode" presStyleLbl="bgShp" presStyleIdx="2" presStyleCnt="3"/>
      <dgm:spPr/>
      <dgm:t>
        <a:bodyPr/>
        <a:lstStyle/>
        <a:p>
          <a:endParaRPr lang="cs-CZ"/>
        </a:p>
      </dgm:t>
    </dgm:pt>
    <dgm:pt modelId="{A65559A5-3E8E-4F24-9EFF-D3BB9E4816FA}" type="pres">
      <dgm:prSet presAssocID="{B0D4054E-CF93-495D-8DFD-1E55BAB5A8FC}" presName="compChildNode" presStyleCnt="0"/>
      <dgm:spPr/>
    </dgm:pt>
    <dgm:pt modelId="{64F7F4DC-B6EA-4AF1-BE41-6EF344247866}" type="pres">
      <dgm:prSet presAssocID="{B0D4054E-CF93-495D-8DFD-1E55BAB5A8FC}" presName="theInnerList" presStyleCnt="0"/>
      <dgm:spPr/>
    </dgm:pt>
    <dgm:pt modelId="{CA0AC264-2BA3-4CDE-945B-BC8780486C3A}" type="pres">
      <dgm:prSet presAssocID="{06B5C771-BEB0-415D-8D13-FB4599C0474B}" presName="childNode" presStyleLbl="node1" presStyleIdx="13" presStyleCnt="16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28D1A6A5-5F66-476A-9C39-2F4922BC949A}" type="pres">
      <dgm:prSet presAssocID="{06B5C771-BEB0-415D-8D13-FB4599C0474B}" presName="aSpace2" presStyleCnt="0"/>
      <dgm:spPr/>
    </dgm:pt>
    <dgm:pt modelId="{7CFBA7B4-9CC5-40DE-B794-0DBEA51274B9}" type="pres">
      <dgm:prSet presAssocID="{E63669A3-7A75-4D55-B685-27E021D54474}" presName="childNode" presStyleLbl="node1" presStyleIdx="14" presStyleCnt="16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CF376806-F707-494B-9845-A071B465DB8D}" type="pres">
      <dgm:prSet presAssocID="{E63669A3-7A75-4D55-B685-27E021D54474}" presName="aSpace2" presStyleCnt="0"/>
      <dgm:spPr/>
    </dgm:pt>
    <dgm:pt modelId="{946E1D8A-6D56-4A8E-9690-2812E20C79B0}" type="pres">
      <dgm:prSet presAssocID="{C85E2352-98FF-4784-A036-6E73A97F5740}" presName="childNode" presStyleLbl="node1" presStyleIdx="15" presStyleCnt="16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</dgm:ptLst>
  <dgm:cxnLst>
    <dgm:cxn modelId="{1D1AB818-3550-A74F-BBF2-972E8C3D2B52}" srcId="{AE2E23BD-E513-4338-98BB-0F85005311CE}" destId="{4ED6D318-629A-3F44-8227-AF23181064A1}" srcOrd="0" destOrd="0" parTransId="{3CD8E429-AB2F-5B43-A878-3A828B755291}" sibTransId="{5A2E7203-8F04-7744-B487-5E9D60EF5785}"/>
    <dgm:cxn modelId="{8BA3D359-5016-FC4F-A7E6-FB86419F8A1A}" srcId="{AE2E23BD-E513-4338-98BB-0F85005311CE}" destId="{BEBEEFDF-4D2A-CF48-B9EF-E3BF4EFC1F42}" srcOrd="2" destOrd="0" parTransId="{E0B83BA4-8E5A-FD48-8A00-02BEE2C02CB4}" sibTransId="{3EFC0E29-85FC-2C4C-ABD7-C14C192A0E12}"/>
    <dgm:cxn modelId="{6A1F0107-4A19-434A-A935-3472DDB785EE}" srcId="{AE2E23BD-E513-4338-98BB-0F85005311CE}" destId="{F49B66C4-5324-4E09-BA46-1A39BC8518D3}" srcOrd="5" destOrd="0" parTransId="{24564914-F5DF-4C0A-80D7-769550E46EBC}" sibTransId="{95780041-CF4D-42C6-8195-C965719ADF7C}"/>
    <dgm:cxn modelId="{862C0045-C20E-44DA-BE75-D61BBB9158F2}" srcId="{B850637D-C96A-4A45-92CD-662A1EF4A5D0}" destId="{B2C8B97A-6448-4491-834D-EAF9E6B58BF2}" srcOrd="3" destOrd="0" parTransId="{CAACBB6C-FFB3-404F-8376-B2A3A276C579}" sibTransId="{6563D796-A4E1-4A71-8235-25912FAA200A}"/>
    <dgm:cxn modelId="{44D24281-676A-4534-80ED-9267A2D28DCA}" type="presOf" srcId="{AFEC3604-3345-7C4A-80AD-3A0725DCC358}" destId="{3369783A-95A8-4EC8-B7E3-BB1FF0B38BDF}" srcOrd="0" destOrd="0" presId="urn:microsoft.com/office/officeart/2005/8/layout/lProcess2"/>
    <dgm:cxn modelId="{6065FBDE-04A8-4681-9BFA-60A1AE3DE4EF}" srcId="{AE2E23BD-E513-4338-98BB-0F85005311CE}" destId="{E00AED95-A3A0-4088-A7BC-E49BFB0C6E4A}" srcOrd="6" destOrd="0" parTransId="{D47F1C45-4B5B-445A-AC20-29E9313805E6}" sibTransId="{F6DEC682-34E6-42C6-94CA-FDF2FB08F1B2}"/>
    <dgm:cxn modelId="{001D5BFC-EB65-4070-981B-8C6264F404C9}" type="presOf" srcId="{4A417B2C-D01E-4A5C-9DC8-021B2C13129D}" destId="{72723580-1BB1-44BA-B3E5-DE9414412DA5}" srcOrd="0" destOrd="0" presId="urn:microsoft.com/office/officeart/2005/8/layout/lProcess2"/>
    <dgm:cxn modelId="{E9F0D1B9-5138-44E4-A3A6-85D1033925AD}" type="presOf" srcId="{B0D4054E-CF93-495D-8DFD-1E55BAB5A8FC}" destId="{8C2FD3A2-7ACB-4A64-8EE5-648C6F200288}" srcOrd="1" destOrd="0" presId="urn:microsoft.com/office/officeart/2005/8/layout/lProcess2"/>
    <dgm:cxn modelId="{6F849A71-FDDF-4C36-9A63-D6A20F620551}" type="presOf" srcId="{AE2E23BD-E513-4338-98BB-0F85005311CE}" destId="{604495C2-7E51-4785-A7E8-4A762528B412}" srcOrd="1" destOrd="0" presId="urn:microsoft.com/office/officeart/2005/8/layout/lProcess2"/>
    <dgm:cxn modelId="{F1EA7ED8-50E2-4241-A9DE-F7B4BABE2A19}" srcId="{B0D4054E-CF93-495D-8DFD-1E55BAB5A8FC}" destId="{E63669A3-7A75-4D55-B685-27E021D54474}" srcOrd="1" destOrd="0" parTransId="{D81A9140-AA4E-4AB7-9341-DB54B85431B6}" sibTransId="{64DBD494-AABA-4B5B-B670-C9D998939D45}"/>
    <dgm:cxn modelId="{6E775B38-39B8-4519-B2AD-ADBA7D313B3E}" type="presOf" srcId="{E00AED95-A3A0-4088-A7BC-E49BFB0C6E4A}" destId="{F420B201-4211-41B5-8B8D-A07329D2E300}" srcOrd="0" destOrd="0" presId="urn:microsoft.com/office/officeart/2005/8/layout/lProcess2"/>
    <dgm:cxn modelId="{7EE5A530-2A6A-4D6B-94AB-3C2845460DC2}" srcId="{AE2E23BD-E513-4338-98BB-0F85005311CE}" destId="{4A417B2C-D01E-4A5C-9DC8-021B2C13129D}" srcOrd="3" destOrd="0" parTransId="{4642E998-B791-4C90-A817-02B68A9CFF1D}" sibTransId="{CEE4B2BB-9675-4F79-B131-022391AA82F3}"/>
    <dgm:cxn modelId="{E620EE52-8731-40A0-AB5E-DC12CE29C854}" srcId="{B850637D-C96A-4A45-92CD-662A1EF4A5D0}" destId="{7A52CA84-B153-4037-8417-42ECE0EC60A1}" srcOrd="1" destOrd="0" parTransId="{56ACF266-F619-4545-8197-6A65C8E17E76}" sibTransId="{00E94EDD-6D78-42A8-91F1-014B250167FC}"/>
    <dgm:cxn modelId="{A8B83497-5A2F-43F0-8A19-2956915C8CAD}" type="presOf" srcId="{BEBEEFDF-4D2A-CF48-B9EF-E3BF4EFC1F42}" destId="{2C6F2F0D-C809-46A3-B29A-D5015E30C177}" srcOrd="0" destOrd="0" presId="urn:microsoft.com/office/officeart/2005/8/layout/lProcess2"/>
    <dgm:cxn modelId="{DBD5AA03-858F-46AF-94A1-B49F25AA9DCD}" type="presOf" srcId="{C85E2352-98FF-4784-A036-6E73A97F5740}" destId="{946E1D8A-6D56-4A8E-9690-2812E20C79B0}" srcOrd="0" destOrd="0" presId="urn:microsoft.com/office/officeart/2005/8/layout/lProcess2"/>
    <dgm:cxn modelId="{82A2AF9D-0726-4785-BE90-53C869B665E1}" type="presOf" srcId="{A53EC3E8-7E14-4EB0-AA21-170C8A5128F5}" destId="{D48D90A8-40B9-4185-ADD4-DB4256DD7818}" srcOrd="0" destOrd="0" presId="urn:microsoft.com/office/officeart/2005/8/layout/lProcess2"/>
    <dgm:cxn modelId="{CA45251A-34E1-4652-A2B5-C08BD78A287F}" type="presOf" srcId="{7A52CA84-B153-4037-8417-42ECE0EC60A1}" destId="{70710E96-8336-46C6-87C7-73A3E1CC7191}" srcOrd="0" destOrd="0" presId="urn:microsoft.com/office/officeart/2005/8/layout/lProcess2"/>
    <dgm:cxn modelId="{90BA91C6-E367-CD4B-9964-F061F5AE37AC}" srcId="{AE2E23BD-E513-4338-98BB-0F85005311CE}" destId="{66875099-C05E-1C48-A5D1-E831B5CBB4AD}" srcOrd="1" destOrd="0" parTransId="{ADFAB633-9351-C84D-97CC-CCF0C35E2019}" sibTransId="{5ED75014-7793-5C44-B375-E5C6A1806C9F}"/>
    <dgm:cxn modelId="{8E3FFE49-2968-DB4B-AEA5-01D8809D1C8A}" srcId="{B850637D-C96A-4A45-92CD-662A1EF4A5D0}" destId="{AFEC3604-3345-7C4A-80AD-3A0725DCC358}" srcOrd="2" destOrd="0" parTransId="{2F01EC7B-8293-0D41-937B-0BEFD9039E77}" sibTransId="{204009EA-5EBF-5E4D-89F9-867F215D0688}"/>
    <dgm:cxn modelId="{2E40556D-E9C8-4130-812E-8B3E7232E6DE}" srcId="{AE2E23BD-E513-4338-98BB-0F85005311CE}" destId="{22C606A9-00C3-469A-A174-CAA07BB78D1C}" srcOrd="4" destOrd="0" parTransId="{074F6FB1-66F6-4451-9D85-F80AFB04B0A4}" sibTransId="{5B1F8476-8A97-4B10-8716-33AAFB8DAF86}"/>
    <dgm:cxn modelId="{C34810D3-2D4B-4946-B56D-C63E4069CB2A}" srcId="{BEC47828-E30F-4C51-8634-C054B30CEA78}" destId="{B0D4054E-CF93-495D-8DFD-1E55BAB5A8FC}" srcOrd="2" destOrd="0" parTransId="{BFCE4052-0185-4F4B-ACAD-70311F4697CB}" sibTransId="{E2ED9F0A-1A63-4592-95E2-B8455B90229B}"/>
    <dgm:cxn modelId="{AB5E92E5-D268-4AB5-9E61-25E993F1F53E}" srcId="{BEC47828-E30F-4C51-8634-C054B30CEA78}" destId="{B850637D-C96A-4A45-92CD-662A1EF4A5D0}" srcOrd="0" destOrd="0" parTransId="{8CBC5787-AC99-4CBB-8A5D-8FAC6D60D032}" sibTransId="{C478C22C-34A4-4772-AC9E-8CFC657F5562}"/>
    <dgm:cxn modelId="{A45FC6E6-F871-46C4-8D4C-478CB769731C}" srcId="{B850637D-C96A-4A45-92CD-662A1EF4A5D0}" destId="{24CBEE8A-7C37-4EE2-B3AE-A1EA918F95AE}" srcOrd="0" destOrd="0" parTransId="{AE9A6E51-FA3F-4CA8-8575-5BAF51F88C45}" sibTransId="{7744026B-29CE-4F8F-BCC5-EB6A9A4FBF00}"/>
    <dgm:cxn modelId="{A6A0880A-4E06-4F56-827D-7C6E0E3CAD62}" type="presOf" srcId="{BEC47828-E30F-4C51-8634-C054B30CEA78}" destId="{6A6F0669-57B0-493C-87C5-41947BB3BC71}" srcOrd="0" destOrd="0" presId="urn:microsoft.com/office/officeart/2005/8/layout/lProcess2"/>
    <dgm:cxn modelId="{0CD6B10B-2840-4B9F-84F8-9DFB7178B092}" type="presOf" srcId="{3802456C-C34D-41B5-AE03-566C1DE88A67}" destId="{625D4F7D-3206-4B64-9401-2E3B2E33EF1A}" srcOrd="0" destOrd="0" presId="urn:microsoft.com/office/officeart/2005/8/layout/lProcess2"/>
    <dgm:cxn modelId="{71A56085-E9B3-42CC-BD18-BB7A7FA2BAB8}" srcId="{BEC47828-E30F-4C51-8634-C054B30CEA78}" destId="{AE2E23BD-E513-4338-98BB-0F85005311CE}" srcOrd="1" destOrd="0" parTransId="{6EE18FAA-B147-430F-9CD5-6A00DE348E62}" sibTransId="{EC4D4DF6-F32A-45C8-93A4-F9F4AC8E03F9}"/>
    <dgm:cxn modelId="{88129F3C-5B37-4647-B86A-DF6F2F628298}" type="presOf" srcId="{24CBEE8A-7C37-4EE2-B3AE-A1EA918F95AE}" destId="{AB5F6958-2459-4DD5-B8CA-E87497F23653}" srcOrd="0" destOrd="0" presId="urn:microsoft.com/office/officeart/2005/8/layout/lProcess2"/>
    <dgm:cxn modelId="{618DAD91-EEFB-4897-851A-505A657032A4}" type="presOf" srcId="{B2C8B97A-6448-4491-834D-EAF9E6B58BF2}" destId="{0A573155-5BCF-4ACD-AB2F-16FE7EF4BD5D}" srcOrd="0" destOrd="0" presId="urn:microsoft.com/office/officeart/2005/8/layout/lProcess2"/>
    <dgm:cxn modelId="{184FDDB5-CDDC-4558-9459-0F95B9C3EDD3}" type="presOf" srcId="{B850637D-C96A-4A45-92CD-662A1EF4A5D0}" destId="{8BAE3201-9F18-4662-B3FC-03A7E2AD7B21}" srcOrd="0" destOrd="0" presId="urn:microsoft.com/office/officeart/2005/8/layout/lProcess2"/>
    <dgm:cxn modelId="{3A9F60CE-AE8A-42F5-8C66-83527A63B9EB}" srcId="{B850637D-C96A-4A45-92CD-662A1EF4A5D0}" destId="{A53EC3E8-7E14-4EB0-AA21-170C8A5128F5}" srcOrd="5" destOrd="0" parTransId="{DD380D48-B9A9-41CC-A360-DE8FFF7FC853}" sibTransId="{E27B79C3-8A9F-4083-8B2E-93E97E91F3F5}"/>
    <dgm:cxn modelId="{2F90E2BC-F797-431D-8A87-25E304EF6E31}" type="presOf" srcId="{4ED6D318-629A-3F44-8227-AF23181064A1}" destId="{93FE7F8B-D97A-4D05-A29F-28CECBC04D06}" srcOrd="0" destOrd="0" presId="urn:microsoft.com/office/officeart/2005/8/layout/lProcess2"/>
    <dgm:cxn modelId="{E96A6557-0492-44F2-9CCF-8B9D3EEAB404}" type="presOf" srcId="{F49B66C4-5324-4E09-BA46-1A39BC8518D3}" destId="{52B3ADAF-1D5E-422C-A4E3-FE394C723AF2}" srcOrd="0" destOrd="0" presId="urn:microsoft.com/office/officeart/2005/8/layout/lProcess2"/>
    <dgm:cxn modelId="{81A248BF-5F42-4945-894F-CAF4B9FB5E46}" type="presOf" srcId="{B0D4054E-CF93-495D-8DFD-1E55BAB5A8FC}" destId="{CDE36B7A-A8A1-4FAE-B981-22EC07E4F40C}" srcOrd="0" destOrd="0" presId="urn:microsoft.com/office/officeart/2005/8/layout/lProcess2"/>
    <dgm:cxn modelId="{3030BE7F-053F-4646-8ACC-746344495C62}" type="presOf" srcId="{22C606A9-00C3-469A-A174-CAA07BB78D1C}" destId="{EC0E4679-DF4B-4839-9335-EE4E137FF4A7}" srcOrd="0" destOrd="0" presId="urn:microsoft.com/office/officeart/2005/8/layout/lProcess2"/>
    <dgm:cxn modelId="{BB2DC8A9-74AE-4398-BEAF-0E38F0882D96}" type="presOf" srcId="{B850637D-C96A-4A45-92CD-662A1EF4A5D0}" destId="{A6F9B62A-9473-49AE-A152-0ACA5967AD52}" srcOrd="1" destOrd="0" presId="urn:microsoft.com/office/officeart/2005/8/layout/lProcess2"/>
    <dgm:cxn modelId="{103A3B64-714A-4096-BDEB-FBA17217188A}" srcId="{B0D4054E-CF93-495D-8DFD-1E55BAB5A8FC}" destId="{C85E2352-98FF-4784-A036-6E73A97F5740}" srcOrd="2" destOrd="0" parTransId="{A8FBF828-D220-4DBB-AE32-3A0578BF1E8C}" sibTransId="{95541E19-D014-48BA-B690-B6A840D4AE72}"/>
    <dgm:cxn modelId="{2EA620B8-FEA2-441F-A1A7-581DC92DB4E3}" type="presOf" srcId="{66875099-C05E-1C48-A5D1-E831B5CBB4AD}" destId="{622AF4A0-2B22-42B8-9B02-FD64E9B3A403}" srcOrd="0" destOrd="0" presId="urn:microsoft.com/office/officeart/2005/8/layout/lProcess2"/>
    <dgm:cxn modelId="{5CDCB2F1-3DA8-4C1E-A277-D54C163F519C}" type="presOf" srcId="{E63669A3-7A75-4D55-B685-27E021D54474}" destId="{7CFBA7B4-9CC5-40DE-B794-0DBEA51274B9}" srcOrd="0" destOrd="0" presId="urn:microsoft.com/office/officeart/2005/8/layout/lProcess2"/>
    <dgm:cxn modelId="{2D21DA53-FA7C-4DFB-9277-6095D8F4F479}" srcId="{B0D4054E-CF93-495D-8DFD-1E55BAB5A8FC}" destId="{06B5C771-BEB0-415D-8D13-FB4599C0474B}" srcOrd="0" destOrd="0" parTransId="{41566CC4-B30D-4E07-915A-37297F8F5568}" sibTransId="{FAE909E8-BB0A-413B-B59C-354F40E00DAF}"/>
    <dgm:cxn modelId="{578C8209-6395-4570-8907-B86C45184D97}" srcId="{B850637D-C96A-4A45-92CD-662A1EF4A5D0}" destId="{3802456C-C34D-41B5-AE03-566C1DE88A67}" srcOrd="4" destOrd="0" parTransId="{804A1CF8-85DF-4034-A287-22FD8CE49E95}" sibTransId="{7A558896-58D8-43D4-BEBB-8FB51319CBC3}"/>
    <dgm:cxn modelId="{549ECC3B-A5A4-452E-A7C8-ED6FCB059623}" type="presOf" srcId="{AE2E23BD-E513-4338-98BB-0F85005311CE}" destId="{E7564195-B13F-4D5F-983C-BC18B767712A}" srcOrd="0" destOrd="0" presId="urn:microsoft.com/office/officeart/2005/8/layout/lProcess2"/>
    <dgm:cxn modelId="{3A318F7D-12BD-447E-8838-4F536655DDB6}" type="presOf" srcId="{06B5C771-BEB0-415D-8D13-FB4599C0474B}" destId="{CA0AC264-2BA3-4CDE-945B-BC8780486C3A}" srcOrd="0" destOrd="0" presId="urn:microsoft.com/office/officeart/2005/8/layout/lProcess2"/>
    <dgm:cxn modelId="{0B4D217D-2FAE-47F6-BCC7-D35FF40243AC}" type="presParOf" srcId="{6A6F0669-57B0-493C-87C5-41947BB3BC71}" destId="{0C342E07-A45F-4905-B4E2-61220150C3C0}" srcOrd="0" destOrd="0" presId="urn:microsoft.com/office/officeart/2005/8/layout/lProcess2"/>
    <dgm:cxn modelId="{28F2ED9F-B670-4F1C-A53C-F49BD1129B25}" type="presParOf" srcId="{0C342E07-A45F-4905-B4E2-61220150C3C0}" destId="{8BAE3201-9F18-4662-B3FC-03A7E2AD7B21}" srcOrd="0" destOrd="0" presId="urn:microsoft.com/office/officeart/2005/8/layout/lProcess2"/>
    <dgm:cxn modelId="{2E2A5EA7-45F8-4F26-B2F9-B6963434A222}" type="presParOf" srcId="{0C342E07-A45F-4905-B4E2-61220150C3C0}" destId="{A6F9B62A-9473-49AE-A152-0ACA5967AD52}" srcOrd="1" destOrd="0" presId="urn:microsoft.com/office/officeart/2005/8/layout/lProcess2"/>
    <dgm:cxn modelId="{6B84DAA7-2933-4EA0-B8B8-2665B8DDE119}" type="presParOf" srcId="{0C342E07-A45F-4905-B4E2-61220150C3C0}" destId="{8FFC643B-F670-44B1-8594-9A7AAECD7454}" srcOrd="2" destOrd="0" presId="urn:microsoft.com/office/officeart/2005/8/layout/lProcess2"/>
    <dgm:cxn modelId="{404B38C0-EFA1-4AAB-B3FB-3792DDBD4645}" type="presParOf" srcId="{8FFC643B-F670-44B1-8594-9A7AAECD7454}" destId="{83CD7093-ABED-4D8E-9BA2-38300B2C02A3}" srcOrd="0" destOrd="0" presId="urn:microsoft.com/office/officeart/2005/8/layout/lProcess2"/>
    <dgm:cxn modelId="{36857BDC-29CC-453D-B654-B213552E746F}" type="presParOf" srcId="{83CD7093-ABED-4D8E-9BA2-38300B2C02A3}" destId="{AB5F6958-2459-4DD5-B8CA-E87497F23653}" srcOrd="0" destOrd="0" presId="urn:microsoft.com/office/officeart/2005/8/layout/lProcess2"/>
    <dgm:cxn modelId="{3FC0BF57-5D8F-4E36-8D89-90A73265480B}" type="presParOf" srcId="{83CD7093-ABED-4D8E-9BA2-38300B2C02A3}" destId="{32020D3F-FE33-4642-AF3D-FF3F1E39A82C}" srcOrd="1" destOrd="0" presId="urn:microsoft.com/office/officeart/2005/8/layout/lProcess2"/>
    <dgm:cxn modelId="{F3B0C628-FC7E-4CDA-9015-BE2E3C3EAD61}" type="presParOf" srcId="{83CD7093-ABED-4D8E-9BA2-38300B2C02A3}" destId="{70710E96-8336-46C6-87C7-73A3E1CC7191}" srcOrd="2" destOrd="0" presId="urn:microsoft.com/office/officeart/2005/8/layout/lProcess2"/>
    <dgm:cxn modelId="{0C1025E9-B193-4FF2-8649-C94BF03D3947}" type="presParOf" srcId="{83CD7093-ABED-4D8E-9BA2-38300B2C02A3}" destId="{7C928F39-E5BF-4790-ACEA-F2EB03D36F69}" srcOrd="3" destOrd="0" presId="urn:microsoft.com/office/officeart/2005/8/layout/lProcess2"/>
    <dgm:cxn modelId="{846A30B8-D19B-4A66-8BEF-486FC5A1AC57}" type="presParOf" srcId="{83CD7093-ABED-4D8E-9BA2-38300B2C02A3}" destId="{3369783A-95A8-4EC8-B7E3-BB1FF0B38BDF}" srcOrd="4" destOrd="0" presId="urn:microsoft.com/office/officeart/2005/8/layout/lProcess2"/>
    <dgm:cxn modelId="{A62FE6AA-7F78-4D99-814D-C693780F4931}" type="presParOf" srcId="{83CD7093-ABED-4D8E-9BA2-38300B2C02A3}" destId="{1530397E-5B28-440D-AB65-FF80139D0CF7}" srcOrd="5" destOrd="0" presId="urn:microsoft.com/office/officeart/2005/8/layout/lProcess2"/>
    <dgm:cxn modelId="{564025AB-82AD-4FAF-892E-0DE46D496911}" type="presParOf" srcId="{83CD7093-ABED-4D8E-9BA2-38300B2C02A3}" destId="{0A573155-5BCF-4ACD-AB2F-16FE7EF4BD5D}" srcOrd="6" destOrd="0" presId="urn:microsoft.com/office/officeart/2005/8/layout/lProcess2"/>
    <dgm:cxn modelId="{FD077601-7085-47F1-9E31-EDDF260E2CF8}" type="presParOf" srcId="{83CD7093-ABED-4D8E-9BA2-38300B2C02A3}" destId="{4020B8F1-3508-4904-B57C-85F0F6C3CE33}" srcOrd="7" destOrd="0" presId="urn:microsoft.com/office/officeart/2005/8/layout/lProcess2"/>
    <dgm:cxn modelId="{EBB89921-201F-472C-BE82-320E2E147845}" type="presParOf" srcId="{83CD7093-ABED-4D8E-9BA2-38300B2C02A3}" destId="{625D4F7D-3206-4B64-9401-2E3B2E33EF1A}" srcOrd="8" destOrd="0" presId="urn:microsoft.com/office/officeart/2005/8/layout/lProcess2"/>
    <dgm:cxn modelId="{676FE891-E957-49A9-BCA1-9D94841CFCB3}" type="presParOf" srcId="{83CD7093-ABED-4D8E-9BA2-38300B2C02A3}" destId="{6CCF8BE3-A26A-4638-BE33-8A1C22AAC48F}" srcOrd="9" destOrd="0" presId="urn:microsoft.com/office/officeart/2005/8/layout/lProcess2"/>
    <dgm:cxn modelId="{26D36C6E-6918-4E5C-B025-D59B0885B149}" type="presParOf" srcId="{83CD7093-ABED-4D8E-9BA2-38300B2C02A3}" destId="{D48D90A8-40B9-4185-ADD4-DB4256DD7818}" srcOrd="10" destOrd="0" presId="urn:microsoft.com/office/officeart/2005/8/layout/lProcess2"/>
    <dgm:cxn modelId="{44814F49-1951-420E-9B19-31B0BDB2D50D}" type="presParOf" srcId="{6A6F0669-57B0-493C-87C5-41947BB3BC71}" destId="{91E6AEA2-BB7A-44A6-985A-C8345D0EC003}" srcOrd="1" destOrd="0" presId="urn:microsoft.com/office/officeart/2005/8/layout/lProcess2"/>
    <dgm:cxn modelId="{41EDA0EB-16CF-4E59-8029-00A0B64DE63E}" type="presParOf" srcId="{6A6F0669-57B0-493C-87C5-41947BB3BC71}" destId="{A37DFE0A-77C5-4F92-8CC7-5FACB4CA7DB7}" srcOrd="2" destOrd="0" presId="urn:microsoft.com/office/officeart/2005/8/layout/lProcess2"/>
    <dgm:cxn modelId="{D34A8258-EEA2-4D15-9106-B2E80723C7DA}" type="presParOf" srcId="{A37DFE0A-77C5-4F92-8CC7-5FACB4CA7DB7}" destId="{E7564195-B13F-4D5F-983C-BC18B767712A}" srcOrd="0" destOrd="0" presId="urn:microsoft.com/office/officeart/2005/8/layout/lProcess2"/>
    <dgm:cxn modelId="{76A5D5C2-CD73-49DB-A22C-ACE180BAB019}" type="presParOf" srcId="{A37DFE0A-77C5-4F92-8CC7-5FACB4CA7DB7}" destId="{604495C2-7E51-4785-A7E8-4A762528B412}" srcOrd="1" destOrd="0" presId="urn:microsoft.com/office/officeart/2005/8/layout/lProcess2"/>
    <dgm:cxn modelId="{A894A409-9424-42AC-8C70-68A395D727F4}" type="presParOf" srcId="{A37DFE0A-77C5-4F92-8CC7-5FACB4CA7DB7}" destId="{BC65F0DC-6069-42CC-9973-80501EED0DAD}" srcOrd="2" destOrd="0" presId="urn:microsoft.com/office/officeart/2005/8/layout/lProcess2"/>
    <dgm:cxn modelId="{2EBB1198-6805-4DFD-A2B4-E53A49033FA2}" type="presParOf" srcId="{BC65F0DC-6069-42CC-9973-80501EED0DAD}" destId="{4BB341F7-E41A-4E60-8C8E-9806514DF238}" srcOrd="0" destOrd="0" presId="urn:microsoft.com/office/officeart/2005/8/layout/lProcess2"/>
    <dgm:cxn modelId="{6B406D12-C8F0-41EC-AC17-AC70B1CCD841}" type="presParOf" srcId="{4BB341F7-E41A-4E60-8C8E-9806514DF238}" destId="{93FE7F8B-D97A-4D05-A29F-28CECBC04D06}" srcOrd="0" destOrd="0" presId="urn:microsoft.com/office/officeart/2005/8/layout/lProcess2"/>
    <dgm:cxn modelId="{E37DD39B-940B-4CAA-B0EE-2F37AAD06BEE}" type="presParOf" srcId="{4BB341F7-E41A-4E60-8C8E-9806514DF238}" destId="{4AB2E473-3E97-4C0C-BD0A-A2B454232DA2}" srcOrd="1" destOrd="0" presId="urn:microsoft.com/office/officeart/2005/8/layout/lProcess2"/>
    <dgm:cxn modelId="{68610F4B-9BD7-4C1E-A486-AAABE9CF07B5}" type="presParOf" srcId="{4BB341F7-E41A-4E60-8C8E-9806514DF238}" destId="{622AF4A0-2B22-42B8-9B02-FD64E9B3A403}" srcOrd="2" destOrd="0" presId="urn:microsoft.com/office/officeart/2005/8/layout/lProcess2"/>
    <dgm:cxn modelId="{42183944-30AF-488C-8B6C-74EA828AB4D8}" type="presParOf" srcId="{4BB341F7-E41A-4E60-8C8E-9806514DF238}" destId="{503C33EC-4FC8-4D33-924A-99D662442C33}" srcOrd="3" destOrd="0" presId="urn:microsoft.com/office/officeart/2005/8/layout/lProcess2"/>
    <dgm:cxn modelId="{AA248153-E919-4F79-8AA3-8804F52511BC}" type="presParOf" srcId="{4BB341F7-E41A-4E60-8C8E-9806514DF238}" destId="{2C6F2F0D-C809-46A3-B29A-D5015E30C177}" srcOrd="4" destOrd="0" presId="urn:microsoft.com/office/officeart/2005/8/layout/lProcess2"/>
    <dgm:cxn modelId="{CFDED249-6437-4E8A-BB73-D728357AA4EA}" type="presParOf" srcId="{4BB341F7-E41A-4E60-8C8E-9806514DF238}" destId="{D3DF318E-F2F6-4BEC-B488-2AC38EEE95BE}" srcOrd="5" destOrd="0" presId="urn:microsoft.com/office/officeart/2005/8/layout/lProcess2"/>
    <dgm:cxn modelId="{670A7693-9A87-4538-9849-5EEB15B60F63}" type="presParOf" srcId="{4BB341F7-E41A-4E60-8C8E-9806514DF238}" destId="{72723580-1BB1-44BA-B3E5-DE9414412DA5}" srcOrd="6" destOrd="0" presId="urn:microsoft.com/office/officeart/2005/8/layout/lProcess2"/>
    <dgm:cxn modelId="{542DC161-5BB0-4476-8589-CCC04AA67266}" type="presParOf" srcId="{4BB341F7-E41A-4E60-8C8E-9806514DF238}" destId="{32B2ECBA-96FE-4644-9241-F5509E03545F}" srcOrd="7" destOrd="0" presId="urn:microsoft.com/office/officeart/2005/8/layout/lProcess2"/>
    <dgm:cxn modelId="{CCE74426-91C6-4E3B-8AB5-EFB7DFAAE24E}" type="presParOf" srcId="{4BB341F7-E41A-4E60-8C8E-9806514DF238}" destId="{EC0E4679-DF4B-4839-9335-EE4E137FF4A7}" srcOrd="8" destOrd="0" presId="urn:microsoft.com/office/officeart/2005/8/layout/lProcess2"/>
    <dgm:cxn modelId="{18949A70-8AA6-4320-862D-F2FD183CE165}" type="presParOf" srcId="{4BB341F7-E41A-4E60-8C8E-9806514DF238}" destId="{0BA27C2B-6D65-4E6A-89F0-C9AB4CEE53DE}" srcOrd="9" destOrd="0" presId="urn:microsoft.com/office/officeart/2005/8/layout/lProcess2"/>
    <dgm:cxn modelId="{40DADC91-C439-40A9-BBEF-E7E12E449364}" type="presParOf" srcId="{4BB341F7-E41A-4E60-8C8E-9806514DF238}" destId="{52B3ADAF-1D5E-422C-A4E3-FE394C723AF2}" srcOrd="10" destOrd="0" presId="urn:microsoft.com/office/officeart/2005/8/layout/lProcess2"/>
    <dgm:cxn modelId="{58F046FF-2561-4927-8E3E-E0388689B13B}" type="presParOf" srcId="{4BB341F7-E41A-4E60-8C8E-9806514DF238}" destId="{50C021E1-33B5-4CDF-B31B-265244FFEC08}" srcOrd="11" destOrd="0" presId="urn:microsoft.com/office/officeart/2005/8/layout/lProcess2"/>
    <dgm:cxn modelId="{577C7E77-2A5B-4EB2-90C8-6D4B4B84A205}" type="presParOf" srcId="{4BB341F7-E41A-4E60-8C8E-9806514DF238}" destId="{F420B201-4211-41B5-8B8D-A07329D2E300}" srcOrd="12" destOrd="0" presId="urn:microsoft.com/office/officeart/2005/8/layout/lProcess2"/>
    <dgm:cxn modelId="{4E7D7808-A354-4AFB-8885-ED3CCE37E393}" type="presParOf" srcId="{6A6F0669-57B0-493C-87C5-41947BB3BC71}" destId="{37341531-BA4C-4666-98ED-D60132C7747A}" srcOrd="3" destOrd="0" presId="urn:microsoft.com/office/officeart/2005/8/layout/lProcess2"/>
    <dgm:cxn modelId="{4E32DFD8-DAA2-4A80-BC3B-B2EC1D3D52EC}" type="presParOf" srcId="{6A6F0669-57B0-493C-87C5-41947BB3BC71}" destId="{2748D7EA-DF39-4F54-A6C8-4D6EC986BD34}" srcOrd="4" destOrd="0" presId="urn:microsoft.com/office/officeart/2005/8/layout/lProcess2"/>
    <dgm:cxn modelId="{87621C5C-C693-4CCE-8E72-767D8C0AFFF3}" type="presParOf" srcId="{2748D7EA-DF39-4F54-A6C8-4D6EC986BD34}" destId="{CDE36B7A-A8A1-4FAE-B981-22EC07E4F40C}" srcOrd="0" destOrd="0" presId="urn:microsoft.com/office/officeart/2005/8/layout/lProcess2"/>
    <dgm:cxn modelId="{EDB0F9C5-EFFA-4BFC-8626-DE262E4A15C3}" type="presParOf" srcId="{2748D7EA-DF39-4F54-A6C8-4D6EC986BD34}" destId="{8C2FD3A2-7ACB-4A64-8EE5-648C6F200288}" srcOrd="1" destOrd="0" presId="urn:microsoft.com/office/officeart/2005/8/layout/lProcess2"/>
    <dgm:cxn modelId="{43824651-AC26-4078-A231-47F03D9F2372}" type="presParOf" srcId="{2748D7EA-DF39-4F54-A6C8-4D6EC986BD34}" destId="{A65559A5-3E8E-4F24-9EFF-D3BB9E4816FA}" srcOrd="2" destOrd="0" presId="urn:microsoft.com/office/officeart/2005/8/layout/lProcess2"/>
    <dgm:cxn modelId="{2F8F9B64-BE3F-44C3-A81D-FC3A3155ACFB}" type="presParOf" srcId="{A65559A5-3E8E-4F24-9EFF-D3BB9E4816FA}" destId="{64F7F4DC-B6EA-4AF1-BE41-6EF344247866}" srcOrd="0" destOrd="0" presId="urn:microsoft.com/office/officeart/2005/8/layout/lProcess2"/>
    <dgm:cxn modelId="{F6551484-D9CA-4C5A-8430-C5FFF7C46BC7}" type="presParOf" srcId="{64F7F4DC-B6EA-4AF1-BE41-6EF344247866}" destId="{CA0AC264-2BA3-4CDE-945B-BC8780486C3A}" srcOrd="0" destOrd="0" presId="urn:microsoft.com/office/officeart/2005/8/layout/lProcess2"/>
    <dgm:cxn modelId="{F1593D70-1F1B-4C3E-8F9E-B29CACE006F6}" type="presParOf" srcId="{64F7F4DC-B6EA-4AF1-BE41-6EF344247866}" destId="{28D1A6A5-5F66-476A-9C39-2F4922BC949A}" srcOrd="1" destOrd="0" presId="urn:microsoft.com/office/officeart/2005/8/layout/lProcess2"/>
    <dgm:cxn modelId="{772949C4-7F3C-43BD-A0D1-13DB60F62489}" type="presParOf" srcId="{64F7F4DC-B6EA-4AF1-BE41-6EF344247866}" destId="{7CFBA7B4-9CC5-40DE-B794-0DBEA51274B9}" srcOrd="2" destOrd="0" presId="urn:microsoft.com/office/officeart/2005/8/layout/lProcess2"/>
    <dgm:cxn modelId="{E8FCCF06-DAE3-4872-8225-40849525E7AD}" type="presParOf" srcId="{64F7F4DC-B6EA-4AF1-BE41-6EF344247866}" destId="{CF376806-F707-494B-9845-A071B465DB8D}" srcOrd="3" destOrd="0" presId="urn:microsoft.com/office/officeart/2005/8/layout/lProcess2"/>
    <dgm:cxn modelId="{E9ECF80B-92E6-4B96-B479-46BA5C78DA25}" type="presParOf" srcId="{64F7F4DC-B6EA-4AF1-BE41-6EF344247866}" destId="{946E1D8A-6D56-4A8E-9690-2812E20C79B0}" srcOrd="4" destOrd="0" presId="urn:microsoft.com/office/officeart/2005/8/layout/lProcess2"/>
  </dgm:cxnLst>
  <dgm:bg/>
  <dgm:whole>
    <a:ln w="19050"/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EEA3B1-BF41-4BA4-B736-E5579F9F124C}">
      <dsp:nvSpPr>
        <dsp:cNvPr id="0" name=""/>
        <dsp:cNvSpPr/>
      </dsp:nvSpPr>
      <dsp:spPr>
        <a:xfrm rot="10800000">
          <a:off x="1719889" y="493"/>
          <a:ext cx="6336287" cy="682895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8558" tIns="76200" rIns="142240" bIns="7620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b="1" kern="1200" noProof="0" dirty="0">
              <a:solidFill>
                <a:srgbClr val="3F3F3F"/>
              </a:solidFill>
              <a:latin typeface="Tw Cen MT" panose="020B0602020104020603" pitchFamily="34" charset="-18"/>
              <a:ea typeface="+mn-ea"/>
              <a:cs typeface="+mn-cs"/>
            </a:rPr>
            <a:t>Zajištění vysoké společné úrovně bezpečnosti sítí a IS v EU</a:t>
          </a:r>
        </a:p>
      </dsp:txBody>
      <dsp:txXfrm rot="10800000">
        <a:off x="1890613" y="493"/>
        <a:ext cx="6165563" cy="682895"/>
      </dsp:txXfrm>
    </dsp:sp>
    <dsp:sp modelId="{C19F4E01-581C-4014-8377-9F295FF09358}">
      <dsp:nvSpPr>
        <dsp:cNvPr id="0" name=""/>
        <dsp:cNvSpPr/>
      </dsp:nvSpPr>
      <dsp:spPr>
        <a:xfrm>
          <a:off x="1472075" y="94127"/>
          <a:ext cx="495627" cy="495627"/>
        </a:xfrm>
        <a:prstGeom prst="ellipse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96C4469-DB6D-442E-91ED-D603C9560984}">
      <dsp:nvSpPr>
        <dsp:cNvPr id="0" name=""/>
        <dsp:cNvSpPr/>
      </dsp:nvSpPr>
      <dsp:spPr>
        <a:xfrm rot="10800000">
          <a:off x="1719889" y="826925"/>
          <a:ext cx="6336287" cy="636088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8558" tIns="76200" rIns="142240" bIns="7620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000" b="1" kern="1200" noProof="0" dirty="0">
              <a:solidFill>
                <a:schemeClr val="tx2"/>
              </a:solidFill>
              <a:latin typeface="Tw Cen MT" panose="020B0602020104020603" pitchFamily="34" charset="-18"/>
            </a:rPr>
            <a:t>Zvýšení odolnosti podniků působících v EU (zavedení opatření).</a:t>
          </a:r>
          <a:endParaRPr lang="cs-CZ" sz="2000" b="1" kern="1200" noProof="0" dirty="0">
            <a:solidFill>
              <a:srgbClr val="3F3F3F"/>
            </a:solidFill>
            <a:latin typeface="Tw Cen MT" panose="020B0602020104020603" pitchFamily="34" charset="-18"/>
            <a:ea typeface="+mn-ea"/>
            <a:cs typeface="+mn-cs"/>
          </a:endParaRPr>
        </a:p>
      </dsp:txBody>
      <dsp:txXfrm rot="10800000">
        <a:off x="1878911" y="826925"/>
        <a:ext cx="6177265" cy="636088"/>
      </dsp:txXfrm>
    </dsp:sp>
    <dsp:sp modelId="{BE72C1BE-2B00-4BA3-A9A2-25D1C8033082}">
      <dsp:nvSpPr>
        <dsp:cNvPr id="0" name=""/>
        <dsp:cNvSpPr/>
      </dsp:nvSpPr>
      <dsp:spPr>
        <a:xfrm>
          <a:off x="1472075" y="897156"/>
          <a:ext cx="495627" cy="495627"/>
        </a:xfrm>
        <a:prstGeom prst="ellipse">
          <a:avLst/>
        </a:prstGeom>
        <a:solidFill>
          <a:schemeClr val="bg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F3C62A-9C77-4362-8C39-D14492C035B7}">
      <dsp:nvSpPr>
        <dsp:cNvPr id="0" name=""/>
        <dsp:cNvSpPr/>
      </dsp:nvSpPr>
      <dsp:spPr>
        <a:xfrm rot="10800000">
          <a:off x="1719889" y="1606551"/>
          <a:ext cx="6336287" cy="812288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8558" tIns="76200" rIns="14224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k-SK" sz="2000" b="1" kern="1200" noProof="0" dirty="0">
              <a:solidFill>
                <a:srgbClr val="3F3F3F"/>
              </a:solidFill>
              <a:latin typeface="Tw Cen MT" panose="020B0602020104020603" pitchFamily="34" charset="-18"/>
              <a:ea typeface="+mn-ea"/>
              <a:cs typeface="+mn-cs"/>
            </a:rPr>
            <a:t>Lepší a intenzívnejší spolupráce </a:t>
          </a:r>
          <a:r>
            <a:rPr lang="cs-CZ" sz="2000" b="1" kern="1200" noProof="0" dirty="0">
              <a:solidFill>
                <a:srgbClr val="3F3F3F"/>
              </a:solidFill>
              <a:latin typeface="Tw Cen MT" panose="020B0602020104020603" pitchFamily="34" charset="-18"/>
              <a:ea typeface="+mn-ea"/>
              <a:cs typeface="+mn-cs"/>
            </a:rPr>
            <a:t>mezi</a:t>
          </a:r>
          <a:r>
            <a:rPr lang="sk-SK" sz="2000" b="1" kern="1200" noProof="0" dirty="0">
              <a:solidFill>
                <a:srgbClr val="3F3F3F"/>
              </a:solidFill>
              <a:latin typeface="Tw Cen MT" panose="020B0602020104020603" pitchFamily="34" charset="-18"/>
              <a:ea typeface="+mn-ea"/>
              <a:cs typeface="+mn-cs"/>
            </a:rPr>
            <a:t> členskými státy.</a:t>
          </a:r>
          <a:endParaRPr lang="cs-CZ" sz="2000" b="1" kern="1200" noProof="0" dirty="0">
            <a:solidFill>
              <a:srgbClr val="3F3F3F"/>
            </a:solidFill>
            <a:latin typeface="Tw Cen MT" panose="020B0602020104020603" pitchFamily="34" charset="-18"/>
            <a:ea typeface="+mn-ea"/>
            <a:cs typeface="+mn-cs"/>
          </a:endParaRPr>
        </a:p>
      </dsp:txBody>
      <dsp:txXfrm rot="10800000">
        <a:off x="1922961" y="1606551"/>
        <a:ext cx="6133215" cy="812288"/>
      </dsp:txXfrm>
    </dsp:sp>
    <dsp:sp modelId="{5D13F47B-30B0-4B41-B021-234516C395FA}">
      <dsp:nvSpPr>
        <dsp:cNvPr id="0" name=""/>
        <dsp:cNvSpPr/>
      </dsp:nvSpPr>
      <dsp:spPr>
        <a:xfrm>
          <a:off x="1472075" y="1764881"/>
          <a:ext cx="495627" cy="495627"/>
        </a:xfrm>
        <a:prstGeom prst="ellipse">
          <a:avLst/>
        </a:prstGeom>
        <a:solidFill>
          <a:schemeClr val="bg2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991A103-DC97-4B8D-B9D0-C24AB678E88C}">
      <dsp:nvSpPr>
        <dsp:cNvPr id="0" name=""/>
        <dsp:cNvSpPr/>
      </dsp:nvSpPr>
      <dsp:spPr>
        <a:xfrm rot="10800000">
          <a:off x="1719889" y="2562376"/>
          <a:ext cx="6336287" cy="495627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8558" tIns="76200" rIns="14224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000" b="1" kern="1200" noProof="0" dirty="0">
              <a:solidFill>
                <a:schemeClr val="tx2"/>
              </a:solidFill>
              <a:latin typeface="Tw Cen MT" panose="020B0602020104020603" pitchFamily="34" charset="-18"/>
            </a:rPr>
            <a:t>Efektivní řešení </a:t>
          </a:r>
          <a:r>
            <a:rPr lang="cs-CZ" sz="2000" b="1" kern="1200" noProof="0" dirty="0" err="1">
              <a:solidFill>
                <a:schemeClr val="tx2"/>
              </a:solidFill>
              <a:latin typeface="Tw Cen MT" panose="020B0602020104020603" pitchFamily="34" charset="-18"/>
            </a:rPr>
            <a:t>kyber</a:t>
          </a:r>
          <a:r>
            <a:rPr lang="cs-CZ" sz="2000" b="1" kern="1200" noProof="0" dirty="0">
              <a:solidFill>
                <a:schemeClr val="tx2"/>
              </a:solidFill>
              <a:latin typeface="Tw Cen MT" panose="020B0602020104020603" pitchFamily="34" charset="-18"/>
            </a:rPr>
            <a:t>. Incidentu.</a:t>
          </a:r>
        </a:p>
      </dsp:txBody>
      <dsp:txXfrm rot="10800000">
        <a:off x="1843796" y="2562376"/>
        <a:ext cx="6212380" cy="495627"/>
      </dsp:txXfrm>
    </dsp:sp>
    <dsp:sp modelId="{3AC35BCF-6443-4BB3-B467-4BE4B6A959FA}">
      <dsp:nvSpPr>
        <dsp:cNvPr id="0" name=""/>
        <dsp:cNvSpPr/>
      </dsp:nvSpPr>
      <dsp:spPr>
        <a:xfrm>
          <a:off x="1472075" y="2562376"/>
          <a:ext cx="495627" cy="495627"/>
        </a:xfrm>
        <a:prstGeom prst="ellipse">
          <a:avLst/>
        </a:prstGeom>
        <a:solidFill>
          <a:schemeClr val="bg2">
            <a:lumMod val="2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58D11B-E6F9-4947-A600-8FC61ED76B2F}">
      <dsp:nvSpPr>
        <dsp:cNvPr id="0" name=""/>
        <dsp:cNvSpPr/>
      </dsp:nvSpPr>
      <dsp:spPr>
        <a:xfrm rot="10800000">
          <a:off x="1750049" y="3201541"/>
          <a:ext cx="6336287" cy="495627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8558" tIns="76200" rIns="14224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000" b="1" kern="1200" noProof="0" dirty="0">
              <a:solidFill>
                <a:schemeClr val="tx2"/>
              </a:solidFill>
              <a:latin typeface="Tw Cen MT" panose="020B0602020104020603" pitchFamily="34" charset="-18"/>
            </a:rPr>
            <a:t>R</a:t>
          </a:r>
          <a:r>
            <a:rPr lang="pt-BR" sz="2000" b="1" kern="1200" noProof="0" dirty="0">
              <a:solidFill>
                <a:schemeClr val="tx2"/>
              </a:solidFill>
              <a:latin typeface="Tw Cen MT" panose="020B0602020104020603" pitchFamily="34" charset="-18"/>
            </a:rPr>
            <a:t>eagování na globální situace </a:t>
          </a:r>
          <a:r>
            <a:rPr lang="cs-CZ" sz="2000" b="1" kern="1200" noProof="0" dirty="0">
              <a:solidFill>
                <a:schemeClr val="tx2"/>
              </a:solidFill>
              <a:latin typeface="Tw Cen MT" panose="020B0602020104020603" pitchFamily="34" charset="-18"/>
            </a:rPr>
            <a:t>a ochrana občanů a ekonomiky </a:t>
          </a:r>
        </a:p>
      </dsp:txBody>
      <dsp:txXfrm rot="10800000">
        <a:off x="1873956" y="3201541"/>
        <a:ext cx="6212380" cy="495627"/>
      </dsp:txXfrm>
    </dsp:sp>
    <dsp:sp modelId="{AD88CBF5-A4B6-4323-B358-9C79806BB8ED}">
      <dsp:nvSpPr>
        <dsp:cNvPr id="0" name=""/>
        <dsp:cNvSpPr/>
      </dsp:nvSpPr>
      <dsp:spPr>
        <a:xfrm>
          <a:off x="1472075" y="3201541"/>
          <a:ext cx="495627" cy="495627"/>
        </a:xfrm>
        <a:prstGeom prst="ellipse">
          <a:avLst/>
        </a:prstGeom>
        <a:solidFill>
          <a:schemeClr val="tx1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AE3201-9F18-4662-B3FC-03A7E2AD7B21}">
      <dsp:nvSpPr>
        <dsp:cNvPr id="0" name=""/>
        <dsp:cNvSpPr/>
      </dsp:nvSpPr>
      <dsp:spPr>
        <a:xfrm>
          <a:off x="1140" y="0"/>
          <a:ext cx="2966180" cy="3975603"/>
        </a:xfrm>
        <a:prstGeom prst="roundRect">
          <a:avLst>
            <a:gd name="adj" fmla="val 10000"/>
          </a:avLst>
        </a:prstGeom>
        <a:solidFill>
          <a:srgbClr val="FFFFFF"/>
        </a:solidFill>
        <a:ln>
          <a:solidFill>
            <a:schemeClr val="bg1"/>
          </a:solidFill>
        </a:ln>
        <a:effectLst/>
        <a:scene3d>
          <a:camera prst="orthographicFront"/>
          <a:lightRig rig="chilly" dir="t"/>
        </a:scene3d>
        <a:sp3d z="-127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7170" tIns="217170" rIns="217170" bIns="217170" numCol="1" spcCol="1270" anchor="ctr" anchorCtr="0">
          <a:noAutofit/>
        </a:bodyPr>
        <a:lstStyle/>
        <a:p>
          <a:pPr lvl="0" algn="ctr" defTabSz="2533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5700" b="1" i="0" kern="1200" noProof="0" dirty="0">
              <a:solidFill>
                <a:srgbClr val="FF0000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Procesy</a:t>
          </a:r>
        </a:p>
      </dsp:txBody>
      <dsp:txXfrm>
        <a:off x="1140" y="0"/>
        <a:ext cx="2966180" cy="1192680"/>
      </dsp:txXfrm>
    </dsp:sp>
    <dsp:sp modelId="{AB5F6958-2459-4DD5-B8CA-E87497F23653}">
      <dsp:nvSpPr>
        <dsp:cNvPr id="0" name=""/>
        <dsp:cNvSpPr/>
      </dsp:nvSpPr>
      <dsp:spPr>
        <a:xfrm>
          <a:off x="288314" y="1192875"/>
          <a:ext cx="2372944" cy="381690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000" b="1" i="0" kern="120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Řízení bezpečnosti informaci</a:t>
          </a:r>
          <a:endParaRPr lang="en-US" sz="1000" b="1" i="0" kern="1200" noProof="0" dirty="0">
            <a:solidFill>
              <a:srgbClr val="FFFFFF"/>
            </a:solidFill>
            <a:latin typeface="Tw Cen MT" panose="020B0602020104020603" pitchFamily="34" charset="-18"/>
            <a:ea typeface="Ebrima" panose="02000000000000000000" pitchFamily="2" charset="0"/>
            <a:cs typeface="Ebrima" panose="02000000000000000000" pitchFamily="2" charset="0"/>
          </a:endParaRPr>
        </a:p>
      </dsp:txBody>
      <dsp:txXfrm>
        <a:off x="299493" y="1204054"/>
        <a:ext cx="2350586" cy="359332"/>
      </dsp:txXfrm>
    </dsp:sp>
    <dsp:sp modelId="{70710E96-8336-46C6-87C7-73A3E1CC7191}">
      <dsp:nvSpPr>
        <dsp:cNvPr id="0" name=""/>
        <dsp:cNvSpPr/>
      </dsp:nvSpPr>
      <dsp:spPr>
        <a:xfrm>
          <a:off x="288314" y="1633287"/>
          <a:ext cx="2372944" cy="381690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000" b="1" i="0" kern="120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Organizační bezpečnost (role)</a:t>
          </a:r>
        </a:p>
      </dsp:txBody>
      <dsp:txXfrm>
        <a:off x="299493" y="1644466"/>
        <a:ext cx="2350586" cy="359332"/>
      </dsp:txXfrm>
    </dsp:sp>
    <dsp:sp modelId="{3369783A-95A8-4EC8-B7E3-BB1FF0B38BDF}">
      <dsp:nvSpPr>
        <dsp:cNvPr id="0" name=""/>
        <dsp:cNvSpPr/>
      </dsp:nvSpPr>
      <dsp:spPr>
        <a:xfrm>
          <a:off x="288314" y="2073700"/>
          <a:ext cx="2372944" cy="381690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000" b="1" i="0" kern="120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Řízení dodavatelů, zdrojů, provozu</a:t>
          </a:r>
        </a:p>
      </dsp:txBody>
      <dsp:txXfrm>
        <a:off x="299493" y="2084879"/>
        <a:ext cx="2350586" cy="359332"/>
      </dsp:txXfrm>
    </dsp:sp>
    <dsp:sp modelId="{0A573155-5BCF-4ACD-AB2F-16FE7EF4BD5D}">
      <dsp:nvSpPr>
        <dsp:cNvPr id="0" name=""/>
        <dsp:cNvSpPr/>
      </dsp:nvSpPr>
      <dsp:spPr>
        <a:xfrm>
          <a:off x="297758" y="2514112"/>
          <a:ext cx="2372944" cy="381690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000" b="1" i="0" kern="120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Řízení přístupů</a:t>
          </a:r>
        </a:p>
      </dsp:txBody>
      <dsp:txXfrm>
        <a:off x="308937" y="2525291"/>
        <a:ext cx="2350586" cy="359332"/>
      </dsp:txXfrm>
    </dsp:sp>
    <dsp:sp modelId="{625D4F7D-3206-4B64-9401-2E3B2E33EF1A}">
      <dsp:nvSpPr>
        <dsp:cNvPr id="0" name=""/>
        <dsp:cNvSpPr/>
      </dsp:nvSpPr>
      <dsp:spPr>
        <a:xfrm>
          <a:off x="297758" y="2954525"/>
          <a:ext cx="2372944" cy="381690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000" b="1" i="0" kern="120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Řízení kontinuity činnosti </a:t>
          </a:r>
        </a:p>
      </dsp:txBody>
      <dsp:txXfrm>
        <a:off x="308937" y="2965704"/>
        <a:ext cx="2350586" cy="359332"/>
      </dsp:txXfrm>
    </dsp:sp>
    <dsp:sp modelId="{D48D90A8-40B9-4185-ADD4-DB4256DD7818}">
      <dsp:nvSpPr>
        <dsp:cNvPr id="0" name=""/>
        <dsp:cNvSpPr/>
      </dsp:nvSpPr>
      <dsp:spPr>
        <a:xfrm>
          <a:off x="297758" y="3394937"/>
          <a:ext cx="2372944" cy="381690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000" b="1" i="0" kern="120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Zvládání bezpečnostních událostí a incidentu</a:t>
          </a:r>
        </a:p>
      </dsp:txBody>
      <dsp:txXfrm>
        <a:off x="308937" y="3406116"/>
        <a:ext cx="2350586" cy="359332"/>
      </dsp:txXfrm>
    </dsp:sp>
    <dsp:sp modelId="{E7564195-B13F-4D5F-983C-BC18B767712A}">
      <dsp:nvSpPr>
        <dsp:cNvPr id="0" name=""/>
        <dsp:cNvSpPr/>
      </dsp:nvSpPr>
      <dsp:spPr>
        <a:xfrm>
          <a:off x="3189784" y="0"/>
          <a:ext cx="2966180" cy="3975603"/>
        </a:xfrm>
        <a:prstGeom prst="roundRect">
          <a:avLst>
            <a:gd name="adj" fmla="val 10000"/>
          </a:avLst>
        </a:prstGeom>
        <a:solidFill>
          <a:srgbClr val="FFFFFF"/>
        </a:solidFill>
        <a:ln>
          <a:solidFill>
            <a:schemeClr val="bg1"/>
          </a:solidFill>
        </a:ln>
        <a:effectLst/>
        <a:scene3d>
          <a:camera prst="orthographicFront"/>
          <a:lightRig rig="chilly" dir="t"/>
        </a:scene3d>
        <a:sp3d z="-127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7170" tIns="217170" rIns="217170" bIns="217170" numCol="1" spcCol="1270" anchor="ctr" anchorCtr="0">
          <a:noAutofit/>
        </a:bodyPr>
        <a:lstStyle/>
        <a:p>
          <a:pPr lvl="0" algn="ctr" defTabSz="2533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5700" b="1" i="0" kern="1200" noProof="0" dirty="0">
              <a:solidFill>
                <a:srgbClr val="FF0000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Nástroje</a:t>
          </a:r>
        </a:p>
      </dsp:txBody>
      <dsp:txXfrm>
        <a:off x="3189784" y="0"/>
        <a:ext cx="2966180" cy="1192680"/>
      </dsp:txXfrm>
    </dsp:sp>
    <dsp:sp modelId="{93FE7F8B-D97A-4D05-A29F-28CECBC04D06}">
      <dsp:nvSpPr>
        <dsp:cNvPr id="0" name=""/>
        <dsp:cNvSpPr/>
      </dsp:nvSpPr>
      <dsp:spPr>
        <a:xfrm>
          <a:off x="3486402" y="1195107"/>
          <a:ext cx="2372944" cy="325541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000" b="1" i="0" kern="120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Fyzická bezpečnost</a:t>
          </a:r>
        </a:p>
      </dsp:txBody>
      <dsp:txXfrm>
        <a:off x="3495937" y="1204642"/>
        <a:ext cx="2353874" cy="306471"/>
      </dsp:txXfrm>
    </dsp:sp>
    <dsp:sp modelId="{622AF4A0-2B22-42B8-9B02-FD64E9B3A403}">
      <dsp:nvSpPr>
        <dsp:cNvPr id="0" name=""/>
        <dsp:cNvSpPr/>
      </dsp:nvSpPr>
      <dsp:spPr>
        <a:xfrm>
          <a:off x="3486402" y="1570732"/>
          <a:ext cx="2372944" cy="325541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cs-CZ" sz="1000" b="1" i="0" kern="1200" dirty="0">
              <a:solidFill>
                <a:srgbClr val="FFFFFF"/>
              </a:solidFill>
              <a:latin typeface="Tw Cen MT" panose="020B0602020104020603" pitchFamily="34" charset="-18"/>
            </a:rPr>
            <a:t>Bezpečnost komunikačních sítí.</a:t>
          </a:r>
          <a:endParaRPr lang="cs-CZ" sz="1000" b="1" i="0" kern="1200" noProof="0" dirty="0">
            <a:solidFill>
              <a:srgbClr val="FFFFFF"/>
            </a:solidFill>
            <a:latin typeface="Tw Cen MT" panose="020B0602020104020603" pitchFamily="34" charset="-18"/>
            <a:ea typeface="Ebrima" panose="02000000000000000000" pitchFamily="2" charset="0"/>
            <a:cs typeface="Ebrima" panose="02000000000000000000" pitchFamily="2" charset="0"/>
          </a:endParaRPr>
        </a:p>
      </dsp:txBody>
      <dsp:txXfrm>
        <a:off x="3495937" y="1580267"/>
        <a:ext cx="2353874" cy="306471"/>
      </dsp:txXfrm>
    </dsp:sp>
    <dsp:sp modelId="{2C6F2F0D-C809-46A3-B29A-D5015E30C177}">
      <dsp:nvSpPr>
        <dsp:cNvPr id="0" name=""/>
        <dsp:cNvSpPr/>
      </dsp:nvSpPr>
      <dsp:spPr>
        <a:xfrm>
          <a:off x="3486402" y="1946356"/>
          <a:ext cx="2372944" cy="325541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000" b="1" i="0" kern="120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Správa a ověření identit</a:t>
          </a:r>
          <a:endParaRPr lang="en-US" sz="1000" b="1" i="0" kern="1200" noProof="0" dirty="0">
            <a:solidFill>
              <a:srgbClr val="FFFFFF"/>
            </a:solidFill>
            <a:latin typeface="Tw Cen MT" panose="020B0602020104020603" pitchFamily="34" charset="-18"/>
            <a:ea typeface="Ebrima" panose="02000000000000000000" pitchFamily="2" charset="0"/>
            <a:cs typeface="Ebrima" panose="02000000000000000000" pitchFamily="2" charset="0"/>
          </a:endParaRPr>
        </a:p>
      </dsp:txBody>
      <dsp:txXfrm>
        <a:off x="3495937" y="1955891"/>
        <a:ext cx="2353874" cy="306471"/>
      </dsp:txXfrm>
    </dsp:sp>
    <dsp:sp modelId="{72723580-1BB1-44BA-B3E5-DE9414412DA5}">
      <dsp:nvSpPr>
        <dsp:cNvPr id="0" name=""/>
        <dsp:cNvSpPr/>
      </dsp:nvSpPr>
      <dsp:spPr>
        <a:xfrm>
          <a:off x="3486402" y="2321981"/>
          <a:ext cx="2372944" cy="325541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000" b="1" i="0" kern="120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Ochrana před škodlivým kódem</a:t>
          </a:r>
          <a:endParaRPr lang="en-US" sz="1000" b="1" i="0" kern="1200" noProof="0" dirty="0">
            <a:solidFill>
              <a:srgbClr val="FFFFFF"/>
            </a:solidFill>
            <a:latin typeface="Tw Cen MT" panose="020B0602020104020603" pitchFamily="34" charset="-18"/>
            <a:ea typeface="Ebrima" panose="02000000000000000000" pitchFamily="2" charset="0"/>
            <a:cs typeface="Ebrima" panose="02000000000000000000" pitchFamily="2" charset="0"/>
          </a:endParaRPr>
        </a:p>
      </dsp:txBody>
      <dsp:txXfrm>
        <a:off x="3495937" y="2331516"/>
        <a:ext cx="2353874" cy="306471"/>
      </dsp:txXfrm>
    </dsp:sp>
    <dsp:sp modelId="{EC0E4679-DF4B-4839-9335-EE4E137FF4A7}">
      <dsp:nvSpPr>
        <dsp:cNvPr id="0" name=""/>
        <dsp:cNvSpPr/>
      </dsp:nvSpPr>
      <dsp:spPr>
        <a:xfrm>
          <a:off x="3486402" y="2697605"/>
          <a:ext cx="2372944" cy="325541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000" b="1" i="0" kern="120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Záznam událostí ICT, sběr a vyhodnocení</a:t>
          </a:r>
        </a:p>
      </dsp:txBody>
      <dsp:txXfrm>
        <a:off x="3495937" y="2707140"/>
        <a:ext cx="2353874" cy="306471"/>
      </dsp:txXfrm>
    </dsp:sp>
    <dsp:sp modelId="{52B3ADAF-1D5E-422C-A4E3-FE394C723AF2}">
      <dsp:nvSpPr>
        <dsp:cNvPr id="0" name=""/>
        <dsp:cNvSpPr/>
      </dsp:nvSpPr>
      <dsp:spPr>
        <a:xfrm>
          <a:off x="3486402" y="3073230"/>
          <a:ext cx="2372944" cy="325541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000" b="1" i="0" kern="120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Detekce kybernetických bez. událostí</a:t>
          </a:r>
        </a:p>
      </dsp:txBody>
      <dsp:txXfrm>
        <a:off x="3495937" y="3082765"/>
        <a:ext cx="2353874" cy="306471"/>
      </dsp:txXfrm>
    </dsp:sp>
    <dsp:sp modelId="{F420B201-4211-41B5-8B8D-A07329D2E300}">
      <dsp:nvSpPr>
        <dsp:cNvPr id="0" name=""/>
        <dsp:cNvSpPr/>
      </dsp:nvSpPr>
      <dsp:spPr>
        <a:xfrm>
          <a:off x="3486402" y="3448855"/>
          <a:ext cx="2372944" cy="325541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000" b="1" i="0" kern="120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Kryptografické prostředky</a:t>
          </a:r>
        </a:p>
      </dsp:txBody>
      <dsp:txXfrm>
        <a:off x="3495937" y="3458390"/>
        <a:ext cx="2353874" cy="306471"/>
      </dsp:txXfrm>
    </dsp:sp>
    <dsp:sp modelId="{CDE36B7A-A8A1-4FAE-B981-22EC07E4F40C}">
      <dsp:nvSpPr>
        <dsp:cNvPr id="0" name=""/>
        <dsp:cNvSpPr/>
      </dsp:nvSpPr>
      <dsp:spPr>
        <a:xfrm>
          <a:off x="6378428" y="0"/>
          <a:ext cx="2966180" cy="3975603"/>
        </a:xfrm>
        <a:prstGeom prst="roundRect">
          <a:avLst>
            <a:gd name="adj" fmla="val 10000"/>
          </a:avLst>
        </a:prstGeom>
        <a:solidFill>
          <a:srgbClr val="FFFFFF"/>
        </a:solidFill>
        <a:ln>
          <a:solidFill>
            <a:schemeClr val="tx1"/>
          </a:solidFill>
        </a:ln>
        <a:effectLst/>
        <a:scene3d>
          <a:camera prst="orthographicFront"/>
          <a:lightRig rig="chilly" dir="t"/>
        </a:scene3d>
        <a:sp3d z="-127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7170" tIns="217170" rIns="217170" bIns="217170" numCol="1" spcCol="1270" anchor="ctr" anchorCtr="0">
          <a:noAutofit/>
        </a:bodyPr>
        <a:lstStyle/>
        <a:p>
          <a:pPr lvl="0" algn="ctr" defTabSz="2533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5700" b="1" i="0" kern="1200" noProof="0" dirty="0">
              <a:solidFill>
                <a:srgbClr val="FF0000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Lidé</a:t>
          </a:r>
        </a:p>
      </dsp:txBody>
      <dsp:txXfrm>
        <a:off x="6378428" y="0"/>
        <a:ext cx="2966180" cy="1192680"/>
      </dsp:txXfrm>
    </dsp:sp>
    <dsp:sp modelId="{CA0AC264-2BA3-4CDE-945B-BC8780486C3A}">
      <dsp:nvSpPr>
        <dsp:cNvPr id="0" name=""/>
        <dsp:cNvSpPr/>
      </dsp:nvSpPr>
      <dsp:spPr>
        <a:xfrm>
          <a:off x="6675046" y="1193020"/>
          <a:ext cx="2372944" cy="781046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000" b="1" i="0" kern="120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Manažerské zajištění (odpovědnost)</a:t>
          </a:r>
        </a:p>
      </dsp:txBody>
      <dsp:txXfrm>
        <a:off x="6697922" y="1215896"/>
        <a:ext cx="2327192" cy="735294"/>
      </dsp:txXfrm>
    </dsp:sp>
    <dsp:sp modelId="{7CFBA7B4-9CC5-40DE-B794-0DBEA51274B9}">
      <dsp:nvSpPr>
        <dsp:cNvPr id="0" name=""/>
        <dsp:cNvSpPr/>
      </dsp:nvSpPr>
      <dsp:spPr>
        <a:xfrm>
          <a:off x="6675046" y="2094228"/>
          <a:ext cx="2372944" cy="781046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000" b="1" i="0" kern="120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Interní zdroje </a:t>
          </a:r>
        </a:p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000" b="1" i="0" kern="120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(oddělení ICT)</a:t>
          </a:r>
        </a:p>
      </dsp:txBody>
      <dsp:txXfrm>
        <a:off x="6697922" y="2117104"/>
        <a:ext cx="2327192" cy="735294"/>
      </dsp:txXfrm>
    </dsp:sp>
    <dsp:sp modelId="{946E1D8A-6D56-4A8E-9690-2812E20C79B0}">
      <dsp:nvSpPr>
        <dsp:cNvPr id="0" name=""/>
        <dsp:cNvSpPr/>
      </dsp:nvSpPr>
      <dsp:spPr>
        <a:xfrm>
          <a:off x="6675046" y="2995436"/>
          <a:ext cx="2372944" cy="781046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000" b="1" i="0" kern="120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Externí zdroje </a:t>
          </a:r>
        </a:p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000" b="1" i="0" kern="1200" noProof="0" dirty="0">
              <a:solidFill>
                <a:srgbClr val="FFFFF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rPr>
            <a:t>(konzultanti, služby SOC)</a:t>
          </a:r>
        </a:p>
      </dsp:txBody>
      <dsp:txXfrm>
        <a:off x="6697922" y="3018312"/>
        <a:ext cx="2327192" cy="7352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hlavičku 1">
            <a:extLst>
              <a:ext uri="{FF2B5EF4-FFF2-40B4-BE49-F238E27FC236}">
                <a16:creationId xmlns:a16="http://schemas.microsoft.com/office/drawing/2014/main" xmlns="" id="{5A257B55-03C5-4618-8810-AFFF22592C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3" name="Zástupný objekt pre dátum 2">
            <a:extLst>
              <a:ext uri="{FF2B5EF4-FFF2-40B4-BE49-F238E27FC236}">
                <a16:creationId xmlns:a16="http://schemas.microsoft.com/office/drawing/2014/main" xmlns="" id="{090E96DE-D949-4A51-9220-CBA8B47A86C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7B279F-DBC1-4CED-B5C4-6A8338FDFEA5}" type="datetimeFigureOut">
              <a:rPr lang="sk-SK" smtClean="0"/>
              <a:t>18. 10. 2023</a:t>
            </a:fld>
            <a:endParaRPr lang="sk-SK"/>
          </a:p>
        </p:txBody>
      </p:sp>
      <p:sp>
        <p:nvSpPr>
          <p:cNvPr id="4" name="Zástupný objekt pre pätu 3">
            <a:extLst>
              <a:ext uri="{FF2B5EF4-FFF2-40B4-BE49-F238E27FC236}">
                <a16:creationId xmlns:a16="http://schemas.microsoft.com/office/drawing/2014/main" xmlns="" id="{97A369A5-00F2-482F-BE60-CABCDB46523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5" name="Zástupný objekt pre číslo snímky 4">
            <a:extLst>
              <a:ext uri="{FF2B5EF4-FFF2-40B4-BE49-F238E27FC236}">
                <a16:creationId xmlns:a16="http://schemas.microsoft.com/office/drawing/2014/main" xmlns="" id="{4569CE35-14D7-4342-9EFD-619E0F2BB01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BDC4A5-66FE-40CB-92E7-5BA59FB9EADF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1978213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9A7985-E681-4365-9C35-A650119500E4}" type="datetimeFigureOut">
              <a:rPr lang="sk-SK" smtClean="0"/>
              <a:t>18. 10. 2023</a:t>
            </a:fld>
            <a:endParaRPr lang="sk-SK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k-SK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sk-SK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DCF88-1B43-4E5C-867C-028E875E3D86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7175440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8CFBE79-09E4-476B-AC6E-8751983C7442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0831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8CFBE79-09E4-476B-AC6E-8751983C7442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3953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6DCF88-1B43-4E5C-867C-028E875E3D86}" type="slidenum">
              <a:rPr lang="sk-SK" smtClean="0"/>
              <a:t>18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1098130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6DCF88-1B43-4E5C-867C-028E875E3D86}" type="slidenum">
              <a:rPr lang="sk-SK" smtClean="0"/>
              <a:t>19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7508411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DCF88-1B43-4E5C-867C-028E875E3D86}" type="slidenum">
              <a:rPr lang="sk-SK" smtClean="0"/>
              <a:t>5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989922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DCF88-1B43-4E5C-867C-028E875E3D86}" type="slidenum">
              <a:rPr lang="sk-SK" smtClean="0"/>
              <a:t>6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2075110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201"/>
              </a:spcBef>
            </a:pP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DCF88-1B43-4E5C-867C-028E875E3D86}" type="slidenum">
              <a:rPr lang="sk-SK" smtClean="0"/>
              <a:t>7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144280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201"/>
              </a:spcBef>
            </a:pP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DCF88-1B43-4E5C-867C-028E875E3D86}" type="slidenum">
              <a:rPr lang="sk-SK" smtClean="0"/>
              <a:t>8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6307138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noProof="0"/>
          </a:p>
          <a:p>
            <a:endParaRPr lang="sk-S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8CFBE79-09E4-476B-AC6E-8751983C7442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0831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k-SK" dirty="0"/>
              <a:t>Je to smernica nie nariadenie = štát podľa </a:t>
            </a:r>
            <a:r>
              <a:rPr lang="sk-SK" b="1" dirty="0"/>
              <a:t>analýzy rizík </a:t>
            </a:r>
            <a:r>
              <a:rPr lang="sk-SK" b="0" dirty="0"/>
              <a:t>na úrovni štátu môže nariadiť povinnosť aj iným ako spomenutým subjektom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Þ"/>
              <a:tabLst/>
              <a:defRPr/>
            </a:pPr>
            <a:r>
              <a:rPr lang="sk-SK" b="0" dirty="0"/>
              <a:t>Nutnosť sledovať a venovať sa tejto problematike Nisu2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Þ"/>
              <a:tabLst/>
              <a:defRPr/>
            </a:pPr>
            <a:endParaRPr lang="sk-SK" b="0" dirty="0"/>
          </a:p>
          <a:p>
            <a:r>
              <a:rPr lang="sk-SK" dirty="0" err="1"/>
              <a:t>První</a:t>
            </a:r>
            <a:r>
              <a:rPr lang="sk-SK" dirty="0"/>
              <a:t> </a:t>
            </a:r>
            <a:r>
              <a:rPr lang="sk-SK" dirty="0" err="1"/>
              <a:t>podmínka</a:t>
            </a:r>
            <a:r>
              <a:rPr lang="sk-SK" dirty="0"/>
              <a:t> pro </a:t>
            </a:r>
            <a:r>
              <a:rPr lang="sk-SK" dirty="0" err="1"/>
              <a:t>identifikaci</a:t>
            </a:r>
            <a:r>
              <a:rPr lang="sk-SK" dirty="0"/>
              <a:t> povinné osoby, je </a:t>
            </a:r>
            <a:r>
              <a:rPr lang="sk-SK" dirty="0" err="1"/>
              <a:t>poskytovat</a:t>
            </a:r>
            <a:r>
              <a:rPr lang="sk-SK" dirty="0"/>
              <a:t> </a:t>
            </a:r>
            <a:r>
              <a:rPr lang="sk-SK" b="1" dirty="0" err="1"/>
              <a:t>alespoň</a:t>
            </a:r>
            <a:r>
              <a:rPr lang="sk-SK" b="1" dirty="0"/>
              <a:t> jednu službu </a:t>
            </a:r>
            <a:r>
              <a:rPr lang="sk-SK" b="1" dirty="0" err="1"/>
              <a:t>ze</a:t>
            </a:r>
            <a:r>
              <a:rPr lang="sk-SK" b="1" dirty="0"/>
              <a:t> </a:t>
            </a:r>
            <a:r>
              <a:rPr lang="sk-SK" b="1" dirty="0" err="1"/>
              <a:t>seznamu</a:t>
            </a:r>
            <a:r>
              <a:rPr lang="sk-SK" b="1" dirty="0"/>
              <a:t> regulovaných </a:t>
            </a:r>
            <a:r>
              <a:rPr lang="sk-SK" b="1" dirty="0" err="1"/>
              <a:t>služeb</a:t>
            </a:r>
            <a:r>
              <a:rPr lang="sk-SK" dirty="0"/>
              <a:t>. </a:t>
            </a:r>
          </a:p>
          <a:p>
            <a:r>
              <a:rPr lang="sk-SK" dirty="0"/>
              <a:t>Druhá </a:t>
            </a:r>
            <a:r>
              <a:rPr lang="sk-SK" dirty="0" err="1"/>
              <a:t>podmínka</a:t>
            </a:r>
            <a:r>
              <a:rPr lang="sk-SK" dirty="0"/>
              <a:t> je </a:t>
            </a:r>
            <a:r>
              <a:rPr lang="sk-SK" dirty="0" err="1"/>
              <a:t>velikost</a:t>
            </a:r>
            <a:r>
              <a:rPr lang="sk-SK" dirty="0"/>
              <a:t> </a:t>
            </a:r>
            <a:r>
              <a:rPr lang="sk-SK" dirty="0" err="1"/>
              <a:t>společnosti</a:t>
            </a:r>
            <a:r>
              <a:rPr lang="sk-SK" dirty="0"/>
              <a:t>. </a:t>
            </a:r>
            <a:r>
              <a:rPr lang="sk-SK" dirty="0" err="1"/>
              <a:t>Regulovány</a:t>
            </a:r>
            <a:r>
              <a:rPr lang="sk-SK" dirty="0"/>
              <a:t> </a:t>
            </a:r>
            <a:r>
              <a:rPr lang="sk-SK" dirty="0" err="1"/>
              <a:t>budou</a:t>
            </a:r>
            <a:r>
              <a:rPr lang="sk-SK" dirty="0"/>
              <a:t> </a:t>
            </a:r>
            <a:r>
              <a:rPr lang="sk-SK" b="1" dirty="0" err="1"/>
              <a:t>střední</a:t>
            </a:r>
            <a:r>
              <a:rPr lang="sk-SK" b="1" dirty="0"/>
              <a:t> a </a:t>
            </a:r>
            <a:r>
              <a:rPr lang="sk-SK" b="1" dirty="0" err="1"/>
              <a:t>velké</a:t>
            </a:r>
            <a:r>
              <a:rPr lang="sk-SK" b="1" dirty="0"/>
              <a:t> podniky </a:t>
            </a:r>
            <a:r>
              <a:rPr lang="sk-SK" dirty="0"/>
              <a:t>(</a:t>
            </a:r>
            <a:r>
              <a:rPr lang="sk-SK" dirty="0" err="1"/>
              <a:t>podle</a:t>
            </a:r>
            <a:r>
              <a:rPr lang="sk-SK" dirty="0"/>
              <a:t> platných </a:t>
            </a:r>
            <a:r>
              <a:rPr lang="sk-SK" dirty="0" err="1"/>
              <a:t>definic</a:t>
            </a:r>
            <a:r>
              <a:rPr lang="sk-SK" dirty="0"/>
              <a:t> </a:t>
            </a:r>
            <a:r>
              <a:rPr lang="sk-SK" dirty="0" err="1"/>
              <a:t>velikosti</a:t>
            </a:r>
            <a:r>
              <a:rPr lang="sk-SK" dirty="0"/>
              <a:t> </a:t>
            </a:r>
            <a:r>
              <a:rPr lang="sk-SK" dirty="0" err="1"/>
              <a:t>podniků</a:t>
            </a:r>
            <a:r>
              <a:rPr lang="sk-SK" dirty="0"/>
              <a:t>). </a:t>
            </a:r>
          </a:p>
          <a:p>
            <a:r>
              <a:rPr lang="sk-SK" dirty="0"/>
              <a:t>Stredné a veľké z dôvodu, že EU predpokladá, že si to budú môcť finančne dovoliť.</a:t>
            </a:r>
          </a:p>
          <a:p>
            <a:r>
              <a:rPr lang="sk-SK" dirty="0" err="1"/>
              <a:t>Při</a:t>
            </a:r>
            <a:r>
              <a:rPr lang="sk-SK" dirty="0"/>
              <a:t> </a:t>
            </a:r>
            <a:r>
              <a:rPr lang="sk-SK" dirty="0" err="1"/>
              <a:t>některých</a:t>
            </a:r>
            <a:r>
              <a:rPr lang="sk-SK" dirty="0"/>
              <a:t> službách bude </a:t>
            </a:r>
            <a:r>
              <a:rPr lang="sk-SK" dirty="0" err="1"/>
              <a:t>organizace</a:t>
            </a:r>
            <a:r>
              <a:rPr lang="sk-SK" dirty="0"/>
              <a:t> </a:t>
            </a:r>
            <a:r>
              <a:rPr lang="sk-SK" dirty="0" err="1"/>
              <a:t>regulována</a:t>
            </a:r>
            <a:r>
              <a:rPr lang="sk-SK" dirty="0"/>
              <a:t> </a:t>
            </a:r>
            <a:r>
              <a:rPr lang="sk-SK" b="1" dirty="0"/>
              <a:t>bez </a:t>
            </a:r>
            <a:r>
              <a:rPr lang="sk-SK" b="1" dirty="0" err="1"/>
              <a:t>ohledu</a:t>
            </a:r>
            <a:r>
              <a:rPr lang="sk-SK" b="1" dirty="0"/>
              <a:t> na </a:t>
            </a:r>
            <a:r>
              <a:rPr lang="sk-SK" b="1" dirty="0" err="1"/>
              <a:t>velikost</a:t>
            </a:r>
            <a:r>
              <a:rPr lang="sk-SK" b="1" dirty="0"/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Þ"/>
              <a:tabLst/>
              <a:defRPr/>
            </a:pPr>
            <a:endParaRPr lang="sk-SK" dirty="0"/>
          </a:p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DCF88-1B43-4E5C-867C-028E875E3D86}" type="slidenum">
              <a:rPr lang="sk-SK" smtClean="0"/>
              <a:t>13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2792622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DCF88-1B43-4E5C-867C-028E875E3D86}" type="slidenum">
              <a:rPr lang="sk-SK" smtClean="0"/>
              <a:t>14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2270246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k-SK" sz="1200" b="1" dirty="0">
                <a:solidFill>
                  <a:srgbClr val="3F3F3F"/>
                </a:solidFill>
                <a:latin typeface="Tw Cen MT" panose="020B0602020104020603" pitchFamily="34" charset="-18"/>
                <a:ea typeface="Ebrima" panose="02000000000000000000" pitchFamily="2" charset="0"/>
                <a:cs typeface="Ebrima" panose="02000000000000000000" pitchFamily="2" charset="0"/>
              </a:rPr>
              <a:t>fyzické osoby v regulované </a:t>
            </a:r>
            <a:r>
              <a:rPr lang="sk-SK" sz="1200" b="1" dirty="0" err="1">
                <a:solidFill>
                  <a:srgbClr val="3F3F3F"/>
                </a:solidFill>
                <a:latin typeface="Tw Cen MT" panose="020B0602020104020603" pitchFamily="34" charset="-18"/>
                <a:ea typeface="Ebrima" panose="02000000000000000000" pitchFamily="2" charset="0"/>
                <a:cs typeface="Ebrima" panose="02000000000000000000" pitchFamily="2" charset="0"/>
              </a:rPr>
              <a:t>organizaci</a:t>
            </a:r>
            <a:r>
              <a:rPr lang="sk-SK" sz="1200" b="1" dirty="0">
                <a:solidFill>
                  <a:srgbClr val="3F3F3F"/>
                </a:solidFill>
                <a:latin typeface="Tw Cen MT" panose="020B0602020104020603" pitchFamily="34" charset="-18"/>
                <a:ea typeface="Ebrima" panose="02000000000000000000" pitchFamily="2" charset="0"/>
                <a:cs typeface="Ebrima" panose="02000000000000000000" pitchFamily="2" charset="0"/>
              </a:rPr>
              <a:t> – zákaz výkonu funkci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k-SK" sz="1200" b="0" dirty="0">
                <a:solidFill>
                  <a:srgbClr val="3F3F3F"/>
                </a:solidFill>
                <a:latin typeface="Tw Cen MT" panose="020B0602020104020603" pitchFamily="34" charset="-18"/>
                <a:ea typeface="Ebrima" panose="02000000000000000000" pitchFamily="2" charset="0"/>
                <a:cs typeface="Ebrima" panose="02000000000000000000" pitchFamily="2" charset="0"/>
              </a:rPr>
              <a:t>Nás </a:t>
            </a:r>
            <a:r>
              <a:rPr lang="sk-SK" sz="1200" b="0" dirty="0" err="1">
                <a:solidFill>
                  <a:srgbClr val="3F3F3F"/>
                </a:solidFill>
                <a:latin typeface="Tw Cen MT" panose="020B0602020104020603" pitchFamily="34" charset="-18"/>
                <a:ea typeface="Ebrima" panose="02000000000000000000" pitchFamily="2" charset="0"/>
                <a:cs typeface="Ebrima" panose="02000000000000000000" pitchFamily="2" charset="0"/>
              </a:rPr>
              <a:t>zauíma</a:t>
            </a:r>
            <a:r>
              <a:rPr lang="sk-SK" sz="1200" b="0" dirty="0">
                <a:solidFill>
                  <a:srgbClr val="3F3F3F"/>
                </a:solidFill>
                <a:latin typeface="Tw Cen MT" panose="020B0602020104020603" pitchFamily="34" charset="-18"/>
                <a:ea typeface="Ebrima" panose="02000000000000000000" pitchFamily="2" charset="0"/>
                <a:cs typeface="Ebrima" panose="02000000000000000000" pitchFamily="2" charset="0"/>
              </a:rPr>
              <a:t> priebeh počas roka 2023 a následne posledný údaj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k-SK" sz="1200" b="0" dirty="0">
              <a:solidFill>
                <a:srgbClr val="3F3F3F"/>
              </a:solidFill>
              <a:latin typeface="Tw Cen MT" panose="020B0602020104020603" pitchFamily="34" charset="-18"/>
              <a:ea typeface="Ebrima" panose="02000000000000000000" pitchFamily="2" charset="0"/>
              <a:cs typeface="Ebrima" panose="02000000000000000000" pitchFamily="2" charset="0"/>
            </a:endParaRPr>
          </a:p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DCF88-1B43-4E5C-867C-028E875E3D86}" type="slidenum">
              <a:rPr lang="sk-SK" smtClean="0"/>
              <a:t>15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4486127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601" b="1">
                <a:solidFill>
                  <a:srgbClr val="F42736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1pPr>
          </a:lstStyle>
          <a:p>
            <a:r>
              <a:rPr lang="en-US"/>
              <a:t>TITLE</a:t>
            </a:r>
            <a:endParaRPr lang="sk-S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noFill/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1pPr>
            <a:lvl2pPr marL="457186" indent="0" algn="ctr">
              <a:buNone/>
              <a:defRPr sz="2000"/>
            </a:lvl2pPr>
            <a:lvl3pPr marL="914372" indent="0" algn="ctr">
              <a:buNone/>
              <a:defRPr sz="1801"/>
            </a:lvl3pPr>
            <a:lvl4pPr marL="1371560" indent="0" algn="ctr">
              <a:buNone/>
              <a:defRPr sz="1600"/>
            </a:lvl4pPr>
            <a:lvl5pPr marL="1828746" indent="0" algn="ctr">
              <a:buNone/>
              <a:defRPr sz="1600"/>
            </a:lvl5pPr>
            <a:lvl6pPr marL="2285933" indent="0" algn="ctr">
              <a:buNone/>
              <a:defRPr sz="1600"/>
            </a:lvl6pPr>
            <a:lvl7pPr marL="2743119" indent="0" algn="ctr">
              <a:buNone/>
              <a:defRPr sz="1600"/>
            </a:lvl7pPr>
            <a:lvl8pPr marL="3200307" indent="0" algn="ctr">
              <a:buNone/>
              <a:defRPr sz="1600"/>
            </a:lvl8pPr>
            <a:lvl9pPr marL="3657493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9458504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ddelova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445" y="2918753"/>
            <a:ext cx="10515600" cy="1325563"/>
          </a:xfrm>
        </p:spPr>
        <p:txBody>
          <a:bodyPr>
            <a:normAutofit/>
          </a:bodyPr>
          <a:lstStyle>
            <a:lvl1pPr>
              <a:defRPr sz="5401"/>
            </a:lvl1pPr>
          </a:lstStyle>
          <a:p>
            <a:r>
              <a:rPr lang="cs-CZ"/>
              <a:t>Kliknutím lze upravit styl.</a:t>
            </a:r>
            <a:endParaRPr lang="sk-S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17E394-F93A-47DE-9C16-541580D00E01}" type="datetimeFigureOut">
              <a:rPr lang="sk-SK" smtClean="0"/>
              <a:t>18. 10. 2023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019730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kladný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3" y="989592"/>
            <a:ext cx="8350306" cy="883811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2341755"/>
            <a:ext cx="6643255" cy="3817976"/>
          </a:xfrm>
        </p:spPr>
        <p:txBody>
          <a:bodyPr/>
          <a:lstStyle>
            <a:lvl3pPr>
              <a:defRPr>
                <a:solidFill>
                  <a:srgbClr val="D2A050"/>
                </a:solidFill>
              </a:defRPr>
            </a:lvl3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sk-S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17E394-F93A-47DE-9C16-541580D00E01}" type="datetimeFigureOut">
              <a:rPr lang="sk-SK" smtClean="0"/>
              <a:t>18. 10. 2023</a:t>
            </a:fld>
            <a:endParaRPr lang="sk-SK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6189667" y="989594"/>
            <a:ext cx="5164137" cy="4887333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9603241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885970"/>
            <a:ext cx="10515600" cy="995915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sk-S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1" y="2505075"/>
            <a:ext cx="5157787" cy="3315862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sk-SK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315862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sk-SK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17E394-F93A-47DE-9C16-541580D00E01}" type="datetimeFigureOut">
              <a:rPr lang="sk-SK" smtClean="0"/>
              <a:t>18. 10. 2023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5339162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s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893548" y="6369584"/>
            <a:ext cx="4404904" cy="267756"/>
          </a:xfrm>
          <a:prstGeom prst="rect">
            <a:avLst/>
          </a:prstGeom>
        </p:spPr>
        <p:txBody>
          <a:bodyPr wrap="square" lIns="82285" tIns="41143" rIns="82285" bIns="41143">
            <a:spAutoFit/>
          </a:bodyPr>
          <a:lstStyle/>
          <a:p>
            <a:pPr algn="ctr"/>
            <a:r>
              <a:rPr lang="id-ID" sz="1200" b="0">
                <a:solidFill>
                  <a:schemeClr val="accent1"/>
                </a:solidFill>
                <a:latin typeface="Lato Regular"/>
                <a:cs typeface="Lato Light"/>
              </a:rPr>
              <a:t>www.</a:t>
            </a:r>
            <a:r>
              <a:rPr lang="sk-SK" sz="1200" b="0" err="1">
                <a:solidFill>
                  <a:schemeClr val="accent1"/>
                </a:solidFill>
                <a:latin typeface="Lato Regular"/>
                <a:cs typeface="Lato Light"/>
              </a:rPr>
              <a:t>axenta</a:t>
            </a:r>
            <a:r>
              <a:rPr lang="id-ID" sz="1200" b="0">
                <a:solidFill>
                  <a:schemeClr val="accent1"/>
                </a:solidFill>
                <a:latin typeface="Lato Regular"/>
                <a:cs typeface="Lato Light"/>
              </a:rPr>
              <a:t>.c</a:t>
            </a:r>
            <a:r>
              <a:rPr lang="sk-SK" sz="1200" b="0">
                <a:solidFill>
                  <a:schemeClr val="accent1"/>
                </a:solidFill>
                <a:latin typeface="Lato Regular"/>
                <a:cs typeface="Lato Light"/>
              </a:rPr>
              <a:t>z</a:t>
            </a:r>
            <a:endParaRPr lang="id-ID" sz="1200" b="0">
              <a:solidFill>
                <a:schemeClr val="accent1"/>
              </a:solidFill>
              <a:latin typeface="Lato Regular"/>
              <a:cs typeface="Lato Light"/>
            </a:endParaRPr>
          </a:p>
        </p:txBody>
      </p:sp>
    </p:spTree>
    <p:extLst>
      <p:ext uri="{BB962C8B-B14F-4D97-AF65-F5344CB8AC3E}">
        <p14:creationId xmlns:p14="http://schemas.microsoft.com/office/powerpoint/2010/main" val="35060770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4" y="98959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TITLE</a:t>
            </a:r>
            <a:endParaRPr lang="sk-S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4" y="2341756"/>
            <a:ext cx="10515600" cy="35349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sk-S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69849" y="15611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1">
                <a:solidFill>
                  <a:srgbClr val="D2A050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1pPr>
          </a:lstStyle>
          <a:p>
            <a:fld id="{9917E394-F93A-47DE-9C16-541580D00E01}" type="datetimeFigureOut">
              <a:rPr lang="sk-SK" smtClean="0"/>
              <a:pPr/>
              <a:t>18. 10. 2023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150415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0" r:id="rId3"/>
    <p:sldLayoutId id="2147483653" r:id="rId4"/>
    <p:sldLayoutId id="2147483655" r:id="rId5"/>
  </p:sldLayoutIdLst>
  <p:txStyles>
    <p:titleStyle>
      <a:lvl1pPr algn="l" defTabSz="914372" rtl="0" eaLnBrk="1" latinLnBrk="0" hangingPunct="1">
        <a:lnSpc>
          <a:spcPct val="90000"/>
        </a:lnSpc>
        <a:spcBef>
          <a:spcPct val="0"/>
        </a:spcBef>
        <a:buNone/>
        <a:defRPr sz="4800" b="1" kern="1200">
          <a:solidFill>
            <a:schemeClr val="tx1"/>
          </a:solidFill>
          <a:latin typeface="Tw Cen MT" panose="020B0602020104020603" pitchFamily="34" charset="0"/>
          <a:ea typeface="Ebrima" panose="02000000000000000000" pitchFamily="2" charset="0"/>
          <a:cs typeface="Ebrima" panose="02000000000000000000" pitchFamily="2" charset="0"/>
        </a:defRPr>
      </a:lvl1pPr>
    </p:titleStyle>
    <p:bodyStyle>
      <a:lvl1pPr marL="0" indent="0" algn="l" defTabSz="914372" rtl="0" eaLnBrk="1" latinLnBrk="0" hangingPunct="1">
        <a:lnSpc>
          <a:spcPct val="90000"/>
        </a:lnSpc>
        <a:spcBef>
          <a:spcPts val="1001"/>
        </a:spcBef>
        <a:buFontTx/>
        <a:buNone/>
        <a:defRPr sz="3200" b="1" kern="1200">
          <a:solidFill>
            <a:schemeClr val="tx2"/>
          </a:solidFill>
          <a:latin typeface="Tw Cen MT" panose="020B0602020104020603" pitchFamily="34" charset="0"/>
          <a:ea typeface="Ebrima" panose="02000000000000000000" pitchFamily="2" charset="0"/>
          <a:cs typeface="Ebrima" panose="02000000000000000000" pitchFamily="2" charset="0"/>
        </a:defRPr>
      </a:lvl1pPr>
      <a:lvl2pPr marL="457186" indent="0" algn="l" defTabSz="9143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800" kern="1200">
          <a:solidFill>
            <a:schemeClr val="tx2"/>
          </a:solidFill>
          <a:latin typeface="Tw Cen MT" panose="020B0602020104020603" pitchFamily="34" charset="0"/>
          <a:ea typeface="Ebrima" panose="02000000000000000000" pitchFamily="2" charset="0"/>
          <a:cs typeface="Ebrima" panose="02000000000000000000" pitchFamily="2" charset="0"/>
        </a:defRPr>
      </a:lvl2pPr>
      <a:lvl3pPr marL="1142967" indent="-228593" algn="l" defTabSz="9143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accent4"/>
          </a:solidFill>
          <a:latin typeface="Tw Cen MT" panose="020B0602020104020603" pitchFamily="34" charset="0"/>
          <a:ea typeface="Ebrima" panose="02000000000000000000" pitchFamily="2" charset="0"/>
          <a:cs typeface="Ebrima" panose="02000000000000000000" pitchFamily="2" charset="0"/>
        </a:defRPr>
      </a:lvl3pPr>
      <a:lvl4pPr marL="1600153" indent="-228593" algn="l" defTabSz="9143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2">
              <a:lumMod val="50000"/>
            </a:schemeClr>
          </a:solidFill>
          <a:latin typeface="Tw Cen MT" panose="020B0602020104020603" pitchFamily="34" charset="0"/>
          <a:ea typeface="Ebrima" panose="02000000000000000000" pitchFamily="2" charset="0"/>
          <a:cs typeface="Ebrima" panose="02000000000000000000" pitchFamily="2" charset="0"/>
        </a:defRPr>
      </a:lvl4pPr>
      <a:lvl5pPr marL="2057339" indent="-228593" algn="l" defTabSz="9143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2">
              <a:lumMod val="75000"/>
            </a:schemeClr>
          </a:solidFill>
          <a:latin typeface="Tw Cen MT" panose="020B0602020104020603" pitchFamily="34" charset="0"/>
          <a:ea typeface="Ebrima" panose="02000000000000000000" pitchFamily="2" charset="0"/>
          <a:cs typeface="Ebrima" panose="02000000000000000000" pitchFamily="2" charset="0"/>
        </a:defRPr>
      </a:lvl5pPr>
      <a:lvl6pPr marL="2514526" indent="-228593" algn="l" defTabSz="9143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4" indent="-228593" algn="l" defTabSz="9143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8900" indent="-228593" algn="l" defTabSz="9143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86" indent="-228593" algn="l" defTabSz="9143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37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86" algn="l" defTabSz="91437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72" algn="l" defTabSz="91437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0" algn="l" defTabSz="91437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746" algn="l" defTabSz="91437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933" algn="l" defTabSz="91437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119" algn="l" defTabSz="91437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307" algn="l" defTabSz="91437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493" algn="l" defTabSz="91437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9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6.png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97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0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image" Target="../media/image103.pn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image" Target="../media/image102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image" Target="../media/image101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slideLayout" Target="../slideLayouts/slideLayout3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26" Type="http://schemas.openxmlformats.org/officeDocument/2006/relationships/image" Target="../media/image29.png"/><Relationship Id="rId39" Type="http://schemas.openxmlformats.org/officeDocument/2006/relationships/image" Target="../media/image42.tiff"/><Relationship Id="rId21" Type="http://schemas.openxmlformats.org/officeDocument/2006/relationships/image" Target="../media/image24.tiff"/><Relationship Id="rId34" Type="http://schemas.openxmlformats.org/officeDocument/2006/relationships/image" Target="../media/image37.png"/><Relationship Id="rId42" Type="http://schemas.openxmlformats.org/officeDocument/2006/relationships/image" Target="../media/image45.png"/><Relationship Id="rId47" Type="http://schemas.openxmlformats.org/officeDocument/2006/relationships/image" Target="../media/image49.png"/><Relationship Id="rId50" Type="http://schemas.openxmlformats.org/officeDocument/2006/relationships/image" Target="../media/image52.tiff"/><Relationship Id="rId55" Type="http://schemas.openxmlformats.org/officeDocument/2006/relationships/image" Target="../media/image57.png"/><Relationship Id="rId63" Type="http://schemas.openxmlformats.org/officeDocument/2006/relationships/image" Target="../media/image65.png"/><Relationship Id="rId68" Type="http://schemas.openxmlformats.org/officeDocument/2006/relationships/image" Target="../media/image70.png"/><Relationship Id="rId76" Type="http://schemas.openxmlformats.org/officeDocument/2006/relationships/image" Target="../media/image78.png"/><Relationship Id="rId7" Type="http://schemas.openxmlformats.org/officeDocument/2006/relationships/image" Target="../media/image10.png"/><Relationship Id="rId71" Type="http://schemas.openxmlformats.org/officeDocument/2006/relationships/image" Target="../media/image73.jpe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9.png"/><Relationship Id="rId29" Type="http://schemas.openxmlformats.org/officeDocument/2006/relationships/image" Target="../media/image32.png"/><Relationship Id="rId11" Type="http://schemas.openxmlformats.org/officeDocument/2006/relationships/image" Target="../media/image14.jpeg"/><Relationship Id="rId24" Type="http://schemas.openxmlformats.org/officeDocument/2006/relationships/image" Target="../media/image27.jpeg"/><Relationship Id="rId32" Type="http://schemas.openxmlformats.org/officeDocument/2006/relationships/image" Target="../media/image35.png"/><Relationship Id="rId37" Type="http://schemas.openxmlformats.org/officeDocument/2006/relationships/image" Target="../media/image40.png"/><Relationship Id="rId40" Type="http://schemas.openxmlformats.org/officeDocument/2006/relationships/image" Target="../media/image43.emf"/><Relationship Id="rId45" Type="http://schemas.openxmlformats.org/officeDocument/2006/relationships/image" Target="../media/image47.png"/><Relationship Id="rId53" Type="http://schemas.openxmlformats.org/officeDocument/2006/relationships/image" Target="../media/image55.png"/><Relationship Id="rId58" Type="http://schemas.openxmlformats.org/officeDocument/2006/relationships/image" Target="../media/image60.png"/><Relationship Id="rId66" Type="http://schemas.openxmlformats.org/officeDocument/2006/relationships/image" Target="../media/image68.png"/><Relationship Id="rId74" Type="http://schemas.openxmlformats.org/officeDocument/2006/relationships/image" Target="../media/image76.jpeg"/><Relationship Id="rId5" Type="http://schemas.openxmlformats.org/officeDocument/2006/relationships/image" Target="../media/image8.tiff"/><Relationship Id="rId15" Type="http://schemas.openxmlformats.org/officeDocument/2006/relationships/image" Target="../media/image18.png"/><Relationship Id="rId23" Type="http://schemas.openxmlformats.org/officeDocument/2006/relationships/image" Target="../media/image26.tiff"/><Relationship Id="rId28" Type="http://schemas.openxmlformats.org/officeDocument/2006/relationships/image" Target="../media/image31.png"/><Relationship Id="rId36" Type="http://schemas.openxmlformats.org/officeDocument/2006/relationships/image" Target="../media/image39.png"/><Relationship Id="rId49" Type="http://schemas.openxmlformats.org/officeDocument/2006/relationships/image" Target="../media/image51.jpeg"/><Relationship Id="rId57" Type="http://schemas.openxmlformats.org/officeDocument/2006/relationships/image" Target="../media/image59.png"/><Relationship Id="rId61" Type="http://schemas.openxmlformats.org/officeDocument/2006/relationships/image" Target="../media/image63.png"/><Relationship Id="rId10" Type="http://schemas.openxmlformats.org/officeDocument/2006/relationships/image" Target="../media/image13.png"/><Relationship Id="rId19" Type="http://schemas.openxmlformats.org/officeDocument/2006/relationships/image" Target="../media/image22.png"/><Relationship Id="rId31" Type="http://schemas.openxmlformats.org/officeDocument/2006/relationships/image" Target="../media/image34.jpeg"/><Relationship Id="rId44" Type="http://schemas.openxmlformats.org/officeDocument/2006/relationships/image" Target="../media/image47.svg"/><Relationship Id="rId52" Type="http://schemas.openxmlformats.org/officeDocument/2006/relationships/image" Target="../media/image54.png"/><Relationship Id="rId60" Type="http://schemas.openxmlformats.org/officeDocument/2006/relationships/image" Target="../media/image62.png"/><Relationship Id="rId65" Type="http://schemas.openxmlformats.org/officeDocument/2006/relationships/image" Target="../media/image67.png"/><Relationship Id="rId73" Type="http://schemas.openxmlformats.org/officeDocument/2006/relationships/image" Target="../media/image75.pn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Relationship Id="rId22" Type="http://schemas.openxmlformats.org/officeDocument/2006/relationships/image" Target="../media/image25.png"/><Relationship Id="rId27" Type="http://schemas.openxmlformats.org/officeDocument/2006/relationships/image" Target="../media/image30.png"/><Relationship Id="rId30" Type="http://schemas.openxmlformats.org/officeDocument/2006/relationships/image" Target="../media/image33.png"/><Relationship Id="rId35" Type="http://schemas.openxmlformats.org/officeDocument/2006/relationships/image" Target="../media/image38.png"/><Relationship Id="rId43" Type="http://schemas.openxmlformats.org/officeDocument/2006/relationships/image" Target="../media/image46.png"/><Relationship Id="rId48" Type="http://schemas.openxmlformats.org/officeDocument/2006/relationships/image" Target="../media/image50.tiff"/><Relationship Id="rId56" Type="http://schemas.openxmlformats.org/officeDocument/2006/relationships/image" Target="../media/image58.png"/><Relationship Id="rId64" Type="http://schemas.openxmlformats.org/officeDocument/2006/relationships/image" Target="../media/image66.jpeg"/><Relationship Id="rId69" Type="http://schemas.openxmlformats.org/officeDocument/2006/relationships/image" Target="../media/image71.png"/><Relationship Id="rId77" Type="http://schemas.openxmlformats.org/officeDocument/2006/relationships/image" Target="../media/image79.png"/><Relationship Id="rId8" Type="http://schemas.openxmlformats.org/officeDocument/2006/relationships/image" Target="../media/image11.png"/><Relationship Id="rId51" Type="http://schemas.openxmlformats.org/officeDocument/2006/relationships/image" Target="../media/image53.jpeg"/><Relationship Id="rId72" Type="http://schemas.openxmlformats.org/officeDocument/2006/relationships/image" Target="../media/image74.png"/><Relationship Id="rId3" Type="http://schemas.openxmlformats.org/officeDocument/2006/relationships/image" Target="../media/image6.png"/><Relationship Id="rId12" Type="http://schemas.openxmlformats.org/officeDocument/2006/relationships/image" Target="../media/image15.png"/><Relationship Id="rId17" Type="http://schemas.openxmlformats.org/officeDocument/2006/relationships/image" Target="../media/image20.jpeg"/><Relationship Id="rId25" Type="http://schemas.openxmlformats.org/officeDocument/2006/relationships/image" Target="../media/image28.jpeg"/><Relationship Id="rId33" Type="http://schemas.openxmlformats.org/officeDocument/2006/relationships/image" Target="../media/image36.png"/><Relationship Id="rId38" Type="http://schemas.openxmlformats.org/officeDocument/2006/relationships/image" Target="../media/image41.png"/><Relationship Id="rId46" Type="http://schemas.openxmlformats.org/officeDocument/2006/relationships/image" Target="../media/image48.jpeg"/><Relationship Id="rId59" Type="http://schemas.openxmlformats.org/officeDocument/2006/relationships/image" Target="../media/image61.png"/><Relationship Id="rId67" Type="http://schemas.openxmlformats.org/officeDocument/2006/relationships/image" Target="../media/image69.gif"/><Relationship Id="rId20" Type="http://schemas.openxmlformats.org/officeDocument/2006/relationships/image" Target="../media/image23.png"/><Relationship Id="rId41" Type="http://schemas.openxmlformats.org/officeDocument/2006/relationships/image" Target="../media/image44.png"/><Relationship Id="rId54" Type="http://schemas.openxmlformats.org/officeDocument/2006/relationships/image" Target="../media/image56.png"/><Relationship Id="rId62" Type="http://schemas.openxmlformats.org/officeDocument/2006/relationships/image" Target="../media/image64.png"/><Relationship Id="rId70" Type="http://schemas.openxmlformats.org/officeDocument/2006/relationships/image" Target="../media/image72.png"/><Relationship Id="rId75" Type="http://schemas.openxmlformats.org/officeDocument/2006/relationships/image" Target="../media/image7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image" Target="../media/image80.png"/><Relationship Id="rId7" Type="http://schemas.openxmlformats.org/officeDocument/2006/relationships/image" Target="../media/image8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2.jpeg"/><Relationship Id="rId11" Type="http://schemas.openxmlformats.org/officeDocument/2006/relationships/image" Target="../media/image87.png"/><Relationship Id="rId5" Type="http://schemas.openxmlformats.org/officeDocument/2006/relationships/image" Target="../media/image83.svg"/><Relationship Id="rId10" Type="http://schemas.openxmlformats.org/officeDocument/2006/relationships/image" Target="../media/image86.png"/><Relationship Id="rId4" Type="http://schemas.openxmlformats.org/officeDocument/2006/relationships/image" Target="../media/image81.png"/><Relationship Id="rId9" Type="http://schemas.openxmlformats.org/officeDocument/2006/relationships/image" Target="../media/image8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emf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xmlns="" id="{5D3608AC-5E80-44FE-BFCF-7CF2C6E3B2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14793"/>
            <a:ext cx="9144000" cy="3402965"/>
          </a:xfrm>
        </p:spPr>
        <p:txBody>
          <a:bodyPr>
            <a:normAutofit fontScale="90000"/>
          </a:bodyPr>
          <a:lstStyle/>
          <a:p>
            <a:r>
              <a:rPr lang="cs-CZ" sz="360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cs-CZ" sz="360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cs-CZ" sz="400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Příprava na </a:t>
            </a:r>
            <a:r>
              <a:rPr lang="cs-CZ" sz="4000" dirty="0">
                <a:solidFill>
                  <a:srgbClr val="FF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NIS2</a:t>
            </a:r>
            <a:br>
              <a:rPr lang="cs-CZ" sz="4000" dirty="0">
                <a:solidFill>
                  <a:srgbClr val="FF0000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cs-CZ" sz="400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-</a:t>
            </a:r>
            <a:br>
              <a:rPr lang="cs-CZ" sz="400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pl-PL" sz="4000" dirty="0" err="1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těžko</a:t>
            </a:r>
            <a:r>
              <a:rPr lang="pl-PL" sz="400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na </a:t>
            </a:r>
            <a:r>
              <a:rPr lang="pl-PL" sz="4000" dirty="0" err="1">
                <a:solidFill>
                  <a:srgbClr val="FF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cvičišti</a:t>
            </a:r>
            <a:r>
              <a:rPr lang="pl-PL" sz="400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pl-PL" sz="4000" dirty="0" err="1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lehko</a:t>
            </a:r>
            <a:r>
              <a:rPr lang="pl-PL" sz="400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na </a:t>
            </a:r>
            <a:r>
              <a:rPr lang="pl-PL" sz="4000" dirty="0" err="1">
                <a:solidFill>
                  <a:srgbClr val="FF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bojišti</a:t>
            </a:r>
            <a:r>
              <a:rPr lang="cs-CZ" sz="4000" dirty="0"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cs-CZ" sz="4000" dirty="0"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cs-CZ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cs-CZ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endParaRPr lang="cs-CZ" sz="3200" dirty="0"/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xmlns="" id="{84DF6098-67C8-4148-BD6D-72C2DCB62B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17075" y="4039470"/>
            <a:ext cx="9144000" cy="1655762"/>
          </a:xfrm>
        </p:spPr>
        <p:txBody>
          <a:bodyPr>
            <a:normAutofit/>
          </a:bodyPr>
          <a:lstStyle/>
          <a:p>
            <a:pPr algn="r"/>
            <a:endParaRPr lang="en-US" dirty="0">
              <a:latin typeface="Tw Cen MT" panose="020B0602020104020603" pitchFamily="34" charset="0"/>
            </a:endParaRPr>
          </a:p>
          <a:p>
            <a:pPr algn="r"/>
            <a:r>
              <a:rPr lang="cs-CZ" dirty="0"/>
              <a:t>Jan Kozák</a:t>
            </a:r>
            <a:r>
              <a:rPr lang="en-US" dirty="0">
                <a:latin typeface="Tw Cen MT" panose="020B0602020104020603" pitchFamily="34" charset="0"/>
              </a:rPr>
              <a:t>,</a:t>
            </a:r>
            <a:r>
              <a:rPr lang="cs-CZ" dirty="0">
                <a:latin typeface="Tw Cen MT" panose="020B0602020104020603" pitchFamily="34" charset="0"/>
              </a:rPr>
              <a:t> </a:t>
            </a:r>
            <a:r>
              <a:rPr lang="cs-CZ" dirty="0" err="1">
                <a:latin typeface="Tw Cen MT" panose="020B0602020104020603" pitchFamily="34" charset="0"/>
              </a:rPr>
              <a:t>Presale</a:t>
            </a:r>
            <a:r>
              <a:rPr lang="cs-CZ" dirty="0">
                <a:latin typeface="Tw Cen MT" panose="020B0602020104020603" pitchFamily="34" charset="0"/>
              </a:rPr>
              <a:t> Technical </a:t>
            </a:r>
            <a:r>
              <a:rPr lang="cs-CZ" dirty="0" err="1">
                <a:latin typeface="Tw Cen MT" panose="020B0602020104020603" pitchFamily="34" charset="0"/>
              </a:rPr>
              <a:t>Specialist</a:t>
            </a:r>
            <a:endParaRPr lang="cs-CZ" dirty="0">
              <a:latin typeface="Tw Cen MT" panose="020B0602020104020603" pitchFamily="34" charset="0"/>
            </a:endParaRPr>
          </a:p>
          <a:p>
            <a:pPr algn="r"/>
            <a:r>
              <a:rPr lang="cs-CZ" dirty="0"/>
              <a:t>kozak@axenta.cz</a:t>
            </a:r>
            <a:endParaRPr lang="cs-CZ" dirty="0">
              <a:latin typeface="Tw Cen MT" panose="020B06020201040206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4796260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5">
            <a:extLst>
              <a:ext uri="{FF2B5EF4-FFF2-40B4-BE49-F238E27FC236}">
                <a16:creationId xmlns:a16="http://schemas.microsoft.com/office/drawing/2014/main" xmlns="" id="{AC48742B-6783-4600-9D60-65E4B1083F01}"/>
              </a:ext>
            </a:extLst>
          </p:cNvPr>
          <p:cNvSpPr txBox="1">
            <a:spLocks/>
          </p:cNvSpPr>
          <p:nvPr/>
        </p:nvSpPr>
        <p:spPr>
          <a:xfrm>
            <a:off x="782445" y="2918753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37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1pPr>
          </a:lstStyle>
          <a:p>
            <a:r>
              <a:rPr lang="pl-PL" sz="4900" dirty="0">
                <a:solidFill>
                  <a:schemeClr val="tx2"/>
                </a:solidFill>
              </a:rPr>
              <a:t>Praktická </a:t>
            </a:r>
            <a:r>
              <a:rPr lang="pl-PL" sz="4900" dirty="0"/>
              <a:t>úkázka</a:t>
            </a:r>
            <a:r>
              <a:rPr lang="pl-PL" sz="4900" dirty="0">
                <a:solidFill>
                  <a:schemeClr val="tx2"/>
                </a:solidFill>
              </a:rPr>
              <a:t> jak </a:t>
            </a:r>
            <a:r>
              <a:rPr lang="pl-PL" sz="4900" dirty="0"/>
              <a:t>snádné</a:t>
            </a:r>
            <a:r>
              <a:rPr lang="pl-PL" sz="4900" dirty="0">
                <a:solidFill>
                  <a:schemeClr val="tx2"/>
                </a:solidFill>
              </a:rPr>
              <a:t> to je </a:t>
            </a:r>
            <a:br>
              <a:rPr lang="pl-PL" sz="4900" dirty="0">
                <a:solidFill>
                  <a:schemeClr val="tx2"/>
                </a:solidFill>
              </a:rPr>
            </a:br>
            <a:endParaRPr lang="sk-SK" i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5029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setEEI-detekciaMaldoc">
            <a:hlinkClick r:id="" action="ppaction://media"/>
            <a:extLst>
              <a:ext uri="{FF2B5EF4-FFF2-40B4-BE49-F238E27FC236}">
                <a16:creationId xmlns:a16="http://schemas.microsoft.com/office/drawing/2014/main" xmlns="" id="{24AC7920-F86B-435C-9480-7A85E2E4A4C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789387" y="1043020"/>
            <a:ext cx="9017875" cy="4771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8725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8096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ovéPole 8">
            <a:extLst>
              <a:ext uri="{FF2B5EF4-FFF2-40B4-BE49-F238E27FC236}">
                <a16:creationId xmlns:a16="http://schemas.microsoft.com/office/drawing/2014/main" xmlns="" id="{369E7568-787D-442A-8B4D-EFC20DA9C8CF}"/>
              </a:ext>
            </a:extLst>
          </p:cNvPr>
          <p:cNvSpPr txBox="1"/>
          <p:nvPr/>
        </p:nvSpPr>
        <p:spPr>
          <a:xfrm>
            <a:off x="424206" y="1428373"/>
            <a:ext cx="5307291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4800" b="1" i="0">
                <a:solidFill>
                  <a:schemeClr val="tx2"/>
                </a:solidFill>
                <a:effectLst/>
                <a:latin typeface="Tw Cen MT" panose="020B0602020104020603" pitchFamily="34" charset="-18"/>
              </a:rPr>
              <a:t>Lepší</a:t>
            </a:r>
            <a:r>
              <a:rPr lang="cs-CZ" sz="4800" b="1" i="0">
                <a:effectLst/>
                <a:latin typeface="Tw Cen MT" panose="020B0602020104020603" pitchFamily="34" charset="-18"/>
              </a:rPr>
              <a:t> špetka prevence </a:t>
            </a:r>
            <a:r>
              <a:rPr lang="cs-CZ" sz="4800" b="1" i="0">
                <a:solidFill>
                  <a:schemeClr val="tx2"/>
                </a:solidFill>
                <a:effectLst/>
                <a:latin typeface="Tw Cen MT" panose="020B0602020104020603" pitchFamily="34" charset="-18"/>
              </a:rPr>
              <a:t>než</a:t>
            </a:r>
            <a:r>
              <a:rPr lang="cs-CZ" sz="4800" b="1" i="0">
                <a:effectLst/>
                <a:latin typeface="Tw Cen MT" panose="020B0602020104020603" pitchFamily="34" charset="-18"/>
              </a:rPr>
              <a:t> pytel </a:t>
            </a:r>
            <a:r>
              <a:rPr lang="cs-CZ" sz="4800" b="1" i="0">
                <a:solidFill>
                  <a:schemeClr val="tx2"/>
                </a:solidFill>
                <a:effectLst/>
                <a:latin typeface="Tw Cen MT" panose="020B0602020104020603" pitchFamily="34" charset="-18"/>
              </a:rPr>
              <a:t>nápravných</a:t>
            </a:r>
            <a:r>
              <a:rPr lang="cs-CZ" sz="4800" b="1" i="0">
                <a:effectLst/>
                <a:latin typeface="Tw Cen MT" panose="020B0602020104020603" pitchFamily="34" charset="-18"/>
              </a:rPr>
              <a:t> opatření!</a:t>
            </a:r>
            <a:endParaRPr lang="cs-CZ" sz="4800" b="1">
              <a:latin typeface="Tw Cen MT" panose="020B0602020104020603" pitchFamily="34" charset="-18"/>
            </a:endParaRPr>
          </a:p>
        </p:txBody>
      </p:sp>
      <p:pic>
        <p:nvPicPr>
          <p:cNvPr id="1026" name="Picture 2" descr="Těžko na cvičišti, lehko na bojišti.... | ARMYWEB.cz">
            <a:extLst>
              <a:ext uri="{FF2B5EF4-FFF2-40B4-BE49-F238E27FC236}">
                <a16:creationId xmlns:a16="http://schemas.microsoft.com/office/drawing/2014/main" xmlns="" id="{24123113-5BDC-576A-19FA-4FF93A7B95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8078" y="1267900"/>
            <a:ext cx="6096000" cy="408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ovéPole 1">
            <a:extLst>
              <a:ext uri="{FF2B5EF4-FFF2-40B4-BE49-F238E27FC236}">
                <a16:creationId xmlns:a16="http://schemas.microsoft.com/office/drawing/2014/main" xmlns="" id="{D5B1F1A2-380C-F667-954A-B74B5A626F03}"/>
              </a:ext>
            </a:extLst>
          </p:cNvPr>
          <p:cNvSpPr txBox="1"/>
          <p:nvPr/>
        </p:nvSpPr>
        <p:spPr>
          <a:xfrm>
            <a:off x="10678542" y="5482378"/>
            <a:ext cx="161107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800" dirty="0">
                <a:solidFill>
                  <a:schemeClr val="tx2"/>
                </a:solidFill>
              </a:rPr>
              <a:t>Zdroj: army.cz</a:t>
            </a:r>
          </a:p>
        </p:txBody>
      </p:sp>
    </p:spTree>
    <p:extLst>
      <p:ext uri="{BB962C8B-B14F-4D97-AF65-F5344CB8AC3E}">
        <p14:creationId xmlns:p14="http://schemas.microsoft.com/office/powerpoint/2010/main" val="1624033892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2">
            <a:extLst>
              <a:ext uri="{FF2B5EF4-FFF2-40B4-BE49-F238E27FC236}">
                <a16:creationId xmlns:a16="http://schemas.microsoft.com/office/drawing/2014/main" xmlns="" id="{0D3B46E2-03E3-4DCC-8AC5-46D0F3182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>
                <a:solidFill>
                  <a:schemeClr val="tx2"/>
                </a:solidFill>
              </a:rPr>
              <a:t>Subjekty</a:t>
            </a:r>
            <a:r>
              <a:rPr lang="cs-CZ" dirty="0"/>
              <a:t> zařazené </a:t>
            </a:r>
            <a:r>
              <a:rPr lang="cs-CZ" dirty="0">
                <a:solidFill>
                  <a:schemeClr val="tx2"/>
                </a:solidFill>
              </a:rPr>
              <a:t>do</a:t>
            </a:r>
            <a:r>
              <a:rPr lang="cs-CZ" dirty="0"/>
              <a:t> NIS2</a:t>
            </a:r>
          </a:p>
        </p:txBody>
      </p:sp>
      <p:sp>
        <p:nvSpPr>
          <p:cNvPr id="2" name="TextovéPole 2">
            <a:extLst>
              <a:ext uri="{FF2B5EF4-FFF2-40B4-BE49-F238E27FC236}">
                <a16:creationId xmlns:a16="http://schemas.microsoft.com/office/drawing/2014/main" xmlns="" id="{2A6475D8-C8DA-7ECC-3AD9-3AFA4C0DC0CB}"/>
              </a:ext>
            </a:extLst>
          </p:cNvPr>
          <p:cNvSpPr txBox="1"/>
          <p:nvPr/>
        </p:nvSpPr>
        <p:spPr>
          <a:xfrm>
            <a:off x="5475889" y="1837727"/>
            <a:ext cx="7737653" cy="4677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2">
              <a:lnSpc>
                <a:spcPct val="107000"/>
              </a:lnSpc>
            </a:pPr>
            <a:r>
              <a:rPr lang="cs-CZ" sz="2400" b="1" dirty="0">
                <a:solidFill>
                  <a:srgbClr val="3F3F3F"/>
                </a:solidFill>
                <a:latin typeface="Tw Cen MT" panose="020B0602020104020603" pitchFamily="34" charset="-18"/>
              </a:rPr>
              <a:t>Významné rozšíření odvětví a pododvětví</a:t>
            </a:r>
          </a:p>
        </p:txBody>
      </p:sp>
      <p:pic>
        <p:nvPicPr>
          <p:cNvPr id="10" name="Obrázok 8">
            <a:extLst>
              <a:ext uri="{FF2B5EF4-FFF2-40B4-BE49-F238E27FC236}">
                <a16:creationId xmlns:a16="http://schemas.microsoft.com/office/drawing/2014/main" xmlns="" id="{519653FB-37E5-835D-8882-7E022DEA44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57279" y="2341373"/>
            <a:ext cx="5895022" cy="3469604"/>
          </a:xfrm>
          <a:prstGeom prst="rect">
            <a:avLst/>
          </a:prstGeom>
        </p:spPr>
      </p:pic>
      <p:pic>
        <p:nvPicPr>
          <p:cNvPr id="11" name="Obrázok 10">
            <a:extLst>
              <a:ext uri="{FF2B5EF4-FFF2-40B4-BE49-F238E27FC236}">
                <a16:creationId xmlns:a16="http://schemas.microsoft.com/office/drawing/2014/main" xmlns="" id="{970BED70-D3FB-99A0-1689-558A8558B7B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4"/>
          <a:stretch>
            <a:fillRect/>
          </a:stretch>
        </p:blipFill>
        <p:spPr>
          <a:xfrm>
            <a:off x="489843" y="3539165"/>
            <a:ext cx="4564326" cy="2118502"/>
          </a:xfrm>
          <a:prstGeom prst="rect">
            <a:avLst/>
          </a:prstGeom>
        </p:spPr>
      </p:pic>
      <p:sp>
        <p:nvSpPr>
          <p:cNvPr id="13" name="TextovéPole 2">
            <a:extLst>
              <a:ext uri="{FF2B5EF4-FFF2-40B4-BE49-F238E27FC236}">
                <a16:creationId xmlns:a16="http://schemas.microsoft.com/office/drawing/2014/main" xmlns="" id="{A3A7BDE9-7694-D6B2-6339-D0C9B4E1B008}"/>
              </a:ext>
            </a:extLst>
          </p:cNvPr>
          <p:cNvSpPr txBox="1"/>
          <p:nvPr/>
        </p:nvSpPr>
        <p:spPr>
          <a:xfrm>
            <a:off x="386652" y="2599763"/>
            <a:ext cx="5800725" cy="4677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2">
              <a:lnSpc>
                <a:spcPct val="107000"/>
              </a:lnSpc>
            </a:pPr>
            <a:r>
              <a:rPr lang="cs-CZ" sz="2400" b="1" dirty="0">
                <a:solidFill>
                  <a:srgbClr val="3F3F3F"/>
                </a:solidFill>
                <a:latin typeface="Tw Cen MT" panose="020B0602020104020603" pitchFamily="34" charset="-18"/>
              </a:rPr>
              <a:t>Rozdělení subjektů</a:t>
            </a:r>
          </a:p>
        </p:txBody>
      </p:sp>
    </p:spTree>
    <p:extLst>
      <p:ext uri="{BB962C8B-B14F-4D97-AF65-F5344CB8AC3E}">
        <p14:creationId xmlns:p14="http://schemas.microsoft.com/office/powerpoint/2010/main" val="810403606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vropská unie – Wikipedie">
            <a:extLst>
              <a:ext uri="{FF2B5EF4-FFF2-40B4-BE49-F238E27FC236}">
                <a16:creationId xmlns:a16="http://schemas.microsoft.com/office/drawing/2014/main" xmlns="" id="{057493AC-EEDE-C6E0-5025-2349B8BBA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147" y="2976356"/>
            <a:ext cx="2760001" cy="1836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Nadpis 2">
            <a:extLst>
              <a:ext uri="{FF2B5EF4-FFF2-40B4-BE49-F238E27FC236}">
                <a16:creationId xmlns:a16="http://schemas.microsoft.com/office/drawing/2014/main" xmlns="" id="{0D3B46E2-03E3-4DCC-8AC5-46D0F31823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648" y="1004779"/>
            <a:ext cx="8350250" cy="884237"/>
          </a:xfrm>
        </p:spPr>
        <p:txBody>
          <a:bodyPr>
            <a:normAutofit/>
          </a:bodyPr>
          <a:lstStyle/>
          <a:p>
            <a:r>
              <a:rPr lang="cs-CZ" dirty="0">
                <a:solidFill>
                  <a:schemeClr val="tx2"/>
                </a:solidFill>
              </a:rPr>
              <a:t>Hlavní </a:t>
            </a:r>
            <a:r>
              <a:rPr lang="cs-CZ" dirty="0"/>
              <a:t>motivace </a:t>
            </a:r>
            <a:r>
              <a:rPr lang="cs-CZ" dirty="0">
                <a:solidFill>
                  <a:schemeClr val="tx2"/>
                </a:solidFill>
              </a:rPr>
              <a:t>Evropské</a:t>
            </a:r>
            <a:r>
              <a:rPr lang="cs-CZ" dirty="0"/>
              <a:t> unie </a:t>
            </a:r>
          </a:p>
        </p:txBody>
      </p: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xmlns="" id="{917F262A-79C1-4540-9D05-F55C99BE0222}"/>
              </a:ext>
            </a:extLst>
          </p:cNvPr>
          <p:cNvGraphicFramePr/>
          <p:nvPr/>
        </p:nvGraphicFramePr>
        <p:xfrm>
          <a:off x="2497487" y="2051497"/>
          <a:ext cx="9528252" cy="36976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502114703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xmlns="" id="{4EA3C534-CB77-CA78-5654-E2516A3D833A}"/>
              </a:ext>
            </a:extLst>
          </p:cNvPr>
          <p:cNvSpPr/>
          <p:nvPr/>
        </p:nvSpPr>
        <p:spPr>
          <a:xfrm>
            <a:off x="411982" y="4525582"/>
            <a:ext cx="11183816" cy="14401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Nadpis 2">
            <a:extLst>
              <a:ext uri="{FF2B5EF4-FFF2-40B4-BE49-F238E27FC236}">
                <a16:creationId xmlns:a16="http://schemas.microsoft.com/office/drawing/2014/main" xmlns="" id="{0D3B46E2-03E3-4DCC-8AC5-46D0F3182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Odpovědnosti </a:t>
            </a:r>
            <a:r>
              <a:rPr lang="cs-CZ" dirty="0">
                <a:solidFill>
                  <a:schemeClr val="tx2"/>
                </a:solidFill>
              </a:rPr>
              <a:t>a</a:t>
            </a:r>
            <a:r>
              <a:rPr lang="cs-CZ" dirty="0"/>
              <a:t> sankce</a:t>
            </a:r>
          </a:p>
        </p:txBody>
      </p:sp>
      <p:sp>
        <p:nvSpPr>
          <p:cNvPr id="4" name="Zástupný objekt pre obsah 3">
            <a:extLst>
              <a:ext uri="{FF2B5EF4-FFF2-40B4-BE49-F238E27FC236}">
                <a16:creationId xmlns:a16="http://schemas.microsoft.com/office/drawing/2014/main" xmlns="" id="{AA645BD2-50A8-9276-A50E-8F113CD50B4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98385" y="2207845"/>
            <a:ext cx="5497064" cy="1440130"/>
          </a:xfrm>
        </p:spPr>
        <p:txBody>
          <a:bodyPr>
            <a:normAutofit fontScale="92500" lnSpcReduction="20000"/>
          </a:bodyPr>
          <a:lstStyle/>
          <a:p>
            <a:pPr marL="1200150" lvl="2" indent="-285750">
              <a:lnSpc>
                <a:spcPct val="97000"/>
              </a:lnSpc>
            </a:pPr>
            <a:r>
              <a:rPr lang="cs-CZ" sz="2000" b="1" dirty="0">
                <a:solidFill>
                  <a:srgbClr val="3F3F3F"/>
                </a:solidFill>
                <a:latin typeface="Tw Cen MT" panose="020B0602020104020603" pitchFamily="34" charset="-18"/>
              </a:rPr>
              <a:t>Pozastavení licencí k poskytované službě </a:t>
            </a:r>
          </a:p>
          <a:p>
            <a:pPr marL="1200150" lvl="2" indent="-285750">
              <a:lnSpc>
                <a:spcPct val="97000"/>
              </a:lnSpc>
            </a:pPr>
            <a:r>
              <a:rPr lang="cs-CZ" sz="2000" b="1" dirty="0">
                <a:solidFill>
                  <a:srgbClr val="FF0000"/>
                </a:solidFill>
                <a:latin typeface="Tw Cen MT" panose="020B0602020104020603" pitchFamily="34" charset="-18"/>
              </a:rPr>
              <a:t>Veřejné zveřejnění při porušení</a:t>
            </a:r>
          </a:p>
          <a:p>
            <a:pPr marL="1200150" lvl="2" indent="-285750">
              <a:lnSpc>
                <a:spcPct val="97000"/>
              </a:lnSpc>
            </a:pPr>
            <a:r>
              <a:rPr lang="cs-CZ" sz="2000" b="1" dirty="0">
                <a:solidFill>
                  <a:srgbClr val="3F3F3F"/>
                </a:solidFill>
                <a:latin typeface="Tw Cen MT" panose="020B0602020104020603" pitchFamily="34" charset="-18"/>
              </a:rPr>
              <a:t>Odebrání certifikací</a:t>
            </a:r>
          </a:p>
          <a:p>
            <a:pPr marL="1200150" lvl="2" indent="-285750">
              <a:lnSpc>
                <a:spcPct val="97000"/>
              </a:lnSpc>
            </a:pPr>
            <a:r>
              <a:rPr lang="cs-CZ" sz="2000" b="1" dirty="0">
                <a:solidFill>
                  <a:srgbClr val="3F3F3F"/>
                </a:solidFill>
                <a:latin typeface="Tw Cen MT" panose="020B0602020104020603" pitchFamily="34" charset="-18"/>
              </a:rPr>
              <a:t>Dočasný zákaz výkonu řídící funkce</a:t>
            </a:r>
            <a:r>
              <a:rPr lang="sk-SK" sz="2000" b="1" dirty="0">
                <a:solidFill>
                  <a:srgbClr val="3F3F3F"/>
                </a:solidFill>
                <a:latin typeface="Tw Cen MT" panose="020B0602020104020603" pitchFamily="34" charset="-18"/>
              </a:rPr>
              <a:t> </a:t>
            </a:r>
          </a:p>
          <a:p>
            <a:endParaRPr lang="sk-SK" sz="3000" dirty="0">
              <a:solidFill>
                <a:srgbClr val="3F3F3F"/>
              </a:solidFill>
              <a:latin typeface="Tw Cen MT" panose="020B0602020104020603" pitchFamily="34" charset="-18"/>
            </a:endParaRPr>
          </a:p>
        </p:txBody>
      </p:sp>
      <p:sp>
        <p:nvSpPr>
          <p:cNvPr id="6" name="Zástupný objekt pre obsah 5">
            <a:extLst>
              <a:ext uri="{FF2B5EF4-FFF2-40B4-BE49-F238E27FC236}">
                <a16:creationId xmlns:a16="http://schemas.microsoft.com/office/drawing/2014/main" xmlns="" id="{16176BE7-9DDA-A2C4-27B4-B18DECD8AB4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277853" y="2207845"/>
            <a:ext cx="6002956" cy="1565258"/>
          </a:xfrm>
        </p:spPr>
        <p:txBody>
          <a:bodyPr>
            <a:normAutofit fontScale="92500" lnSpcReduction="10000"/>
          </a:bodyPr>
          <a:lstStyle/>
          <a:p>
            <a:pPr marL="1200150" lvl="2" indent="-285750">
              <a:lnSpc>
                <a:spcPct val="117000"/>
              </a:lnSpc>
            </a:pPr>
            <a:r>
              <a:rPr lang="cs-CZ" sz="2000" b="1" dirty="0">
                <a:solidFill>
                  <a:srgbClr val="3F3F3F"/>
                </a:solidFill>
                <a:latin typeface="Tw Cen MT" panose="020B0602020104020603" pitchFamily="34" charset="-18"/>
              </a:rPr>
              <a:t>Výška sankce pro důležitý subjekt – horní hranice je </a:t>
            </a:r>
            <a:r>
              <a:rPr lang="cs-CZ" b="1" dirty="0">
                <a:solidFill>
                  <a:srgbClr val="FF0000"/>
                </a:solidFill>
                <a:latin typeface="Tw Cen MT" panose="020B0602020104020603" pitchFamily="34" charset="-18"/>
              </a:rPr>
              <a:t>7 </a:t>
            </a:r>
            <a:r>
              <a:rPr lang="cs-CZ" sz="2000" b="1" dirty="0">
                <a:solidFill>
                  <a:srgbClr val="FF0000"/>
                </a:solidFill>
                <a:latin typeface="Tw Cen MT" panose="020B0602020104020603" pitchFamily="34" charset="-18"/>
              </a:rPr>
              <a:t>mil. </a:t>
            </a:r>
            <a:r>
              <a:rPr lang="cs-CZ" sz="2000" b="1" dirty="0">
                <a:solidFill>
                  <a:srgbClr val="3F3F3F"/>
                </a:solidFill>
                <a:latin typeface="Tw Cen MT" panose="020B0602020104020603" pitchFamily="34" charset="-18"/>
              </a:rPr>
              <a:t>Euro nebo </a:t>
            </a:r>
            <a:r>
              <a:rPr lang="cs-CZ" sz="2600" b="1" dirty="0">
                <a:solidFill>
                  <a:srgbClr val="FF0000"/>
                </a:solidFill>
                <a:latin typeface="Tw Cen MT" panose="020B0602020104020603" pitchFamily="34" charset="-18"/>
              </a:rPr>
              <a:t>1,4 % </a:t>
            </a:r>
            <a:r>
              <a:rPr lang="cs-CZ" sz="2000" b="1" dirty="0">
                <a:solidFill>
                  <a:srgbClr val="3F3F3F"/>
                </a:solidFill>
                <a:latin typeface="Tw Cen MT" panose="020B0602020104020603" pitchFamily="34" charset="-18"/>
              </a:rPr>
              <a:t>z obratu</a:t>
            </a:r>
          </a:p>
          <a:p>
            <a:pPr marL="1200150" lvl="2" indent="-285750">
              <a:lnSpc>
                <a:spcPct val="117000"/>
              </a:lnSpc>
            </a:pPr>
            <a:r>
              <a:rPr lang="cs-CZ" sz="2000" b="1" dirty="0">
                <a:solidFill>
                  <a:srgbClr val="3F3F3F"/>
                </a:solidFill>
                <a:latin typeface="Tw Cen MT" panose="020B0602020104020603" pitchFamily="34" charset="-18"/>
              </a:rPr>
              <a:t>Výška sankce pro klíčový subjekt – horní hranice je </a:t>
            </a:r>
            <a:r>
              <a:rPr lang="cs-CZ" b="1" dirty="0">
                <a:solidFill>
                  <a:srgbClr val="FF0000"/>
                </a:solidFill>
                <a:latin typeface="Tw Cen MT" panose="020B0602020104020603" pitchFamily="34" charset="-18"/>
              </a:rPr>
              <a:t>10</a:t>
            </a:r>
            <a:r>
              <a:rPr lang="cs-CZ" sz="2000" b="1" dirty="0">
                <a:solidFill>
                  <a:srgbClr val="FF0000"/>
                </a:solidFill>
                <a:latin typeface="Tw Cen MT" panose="020B0602020104020603" pitchFamily="34" charset="-18"/>
              </a:rPr>
              <a:t> mil</a:t>
            </a:r>
            <a:r>
              <a:rPr lang="cs-CZ" sz="2000" b="1" dirty="0">
                <a:solidFill>
                  <a:srgbClr val="3F3F3F"/>
                </a:solidFill>
                <a:latin typeface="Tw Cen MT" panose="020B0602020104020603" pitchFamily="34" charset="-18"/>
              </a:rPr>
              <a:t>. Euro nebo </a:t>
            </a:r>
            <a:r>
              <a:rPr lang="cs-CZ" sz="2600" b="1" dirty="0">
                <a:solidFill>
                  <a:srgbClr val="FF0000"/>
                </a:solidFill>
                <a:latin typeface="Tw Cen MT" panose="020B0602020104020603" pitchFamily="34" charset="-18"/>
              </a:rPr>
              <a:t>2 % </a:t>
            </a:r>
            <a:r>
              <a:rPr lang="cs-CZ" sz="2000" b="1" dirty="0">
                <a:solidFill>
                  <a:srgbClr val="3F3F3F"/>
                </a:solidFill>
                <a:latin typeface="Tw Cen MT" panose="020B0602020104020603" pitchFamily="34" charset="-18"/>
              </a:rPr>
              <a:t>z obratu</a:t>
            </a:r>
          </a:p>
          <a:p>
            <a:endParaRPr lang="sk-SK" dirty="0"/>
          </a:p>
        </p:txBody>
      </p:sp>
      <p:sp>
        <p:nvSpPr>
          <p:cNvPr id="7" name="BlokTextu 6">
            <a:extLst>
              <a:ext uri="{FF2B5EF4-FFF2-40B4-BE49-F238E27FC236}">
                <a16:creationId xmlns:a16="http://schemas.microsoft.com/office/drawing/2014/main" xmlns="" id="{4BDC7220-AD7F-8918-A80B-9B39ADE93E6B}"/>
              </a:ext>
            </a:extLst>
          </p:cNvPr>
          <p:cNvSpPr txBox="1"/>
          <p:nvPr/>
        </p:nvSpPr>
        <p:spPr>
          <a:xfrm>
            <a:off x="839789" y="3798596"/>
            <a:ext cx="4061861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2">
              <a:lnSpc>
                <a:spcPct val="90000"/>
              </a:lnSpc>
              <a:spcBef>
                <a:spcPct val="0"/>
              </a:spcBef>
            </a:pPr>
            <a:r>
              <a:rPr lang="cs-CZ" sz="4800" b="1" dirty="0"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Harmonogram</a:t>
            </a:r>
            <a:endParaRPr lang="sk-SK" sz="4800" b="1" dirty="0">
              <a:latin typeface="Tw Cen MT" panose="020B0602020104020603" pitchFamily="34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sp>
        <p:nvSpPr>
          <p:cNvPr id="8" name="BlokTextu 7">
            <a:extLst>
              <a:ext uri="{FF2B5EF4-FFF2-40B4-BE49-F238E27FC236}">
                <a16:creationId xmlns:a16="http://schemas.microsoft.com/office/drawing/2014/main" xmlns="" id="{B03E600E-48A5-1F41-ECE8-FCD8EB0C79F5}"/>
              </a:ext>
            </a:extLst>
          </p:cNvPr>
          <p:cNvSpPr txBox="1"/>
          <p:nvPr/>
        </p:nvSpPr>
        <p:spPr>
          <a:xfrm>
            <a:off x="839789" y="4756582"/>
            <a:ext cx="166517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000" b="1" dirty="0">
                <a:solidFill>
                  <a:srgbClr val="00B050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16.12.2020</a:t>
            </a:r>
          </a:p>
          <a:p>
            <a:pPr algn="ctr"/>
            <a:r>
              <a:rPr lang="cs-CZ" sz="2000" b="1" dirty="0">
                <a:solidFill>
                  <a:srgbClr val="3F3F3F"/>
                </a:solidFill>
                <a:latin typeface="Tw Cen MT" panose="020B0602020104020603" pitchFamily="34" charset="-18"/>
                <a:ea typeface="Ebrima" panose="02000000000000000000" pitchFamily="2" charset="0"/>
                <a:cs typeface="Ebrima" panose="02000000000000000000" pitchFamily="2" charset="0"/>
              </a:rPr>
              <a:t>Přijatý návrh</a:t>
            </a:r>
          </a:p>
          <a:p>
            <a:pPr algn="ctr"/>
            <a:r>
              <a:rPr lang="cs-CZ" sz="2000" b="1" dirty="0">
                <a:solidFill>
                  <a:srgbClr val="3F3F3F"/>
                </a:solidFill>
                <a:latin typeface="Tw Cen MT" panose="020B0602020104020603" pitchFamily="34" charset="-18"/>
                <a:ea typeface="Ebrima" panose="02000000000000000000" pitchFamily="2" charset="0"/>
                <a:cs typeface="Ebrima" panose="02000000000000000000" pitchFamily="2" charset="0"/>
              </a:rPr>
              <a:t>NIS2 </a:t>
            </a:r>
          </a:p>
        </p:txBody>
      </p:sp>
      <p:sp>
        <p:nvSpPr>
          <p:cNvPr id="9" name="BlokTextu 8">
            <a:extLst>
              <a:ext uri="{FF2B5EF4-FFF2-40B4-BE49-F238E27FC236}">
                <a16:creationId xmlns:a16="http://schemas.microsoft.com/office/drawing/2014/main" xmlns="" id="{3FCFA693-7F84-F8BD-6D3A-2F85CEC02F5E}"/>
              </a:ext>
            </a:extLst>
          </p:cNvPr>
          <p:cNvSpPr txBox="1"/>
          <p:nvPr/>
        </p:nvSpPr>
        <p:spPr>
          <a:xfrm>
            <a:off x="3109355" y="4756582"/>
            <a:ext cx="176783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 dirty="0">
                <a:solidFill>
                  <a:srgbClr val="00B050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Prosinec</a:t>
            </a:r>
            <a:r>
              <a:rPr lang="sk-SK" sz="2000" b="1" dirty="0">
                <a:solidFill>
                  <a:srgbClr val="00B050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 2022</a:t>
            </a:r>
          </a:p>
          <a:p>
            <a:pPr algn="ctr"/>
            <a:r>
              <a:rPr lang="cs-CZ" sz="2000" b="1" dirty="0">
                <a:solidFill>
                  <a:srgbClr val="3F3F3F"/>
                </a:solidFill>
                <a:latin typeface="Tw Cen MT" panose="020B0602020104020603" pitchFamily="34" charset="-18"/>
                <a:ea typeface="Ebrima" panose="02000000000000000000" pitchFamily="2" charset="0"/>
                <a:cs typeface="Ebrima" panose="02000000000000000000" pitchFamily="2" charset="0"/>
              </a:rPr>
              <a:t>Finální znění</a:t>
            </a:r>
          </a:p>
          <a:p>
            <a:pPr algn="ctr"/>
            <a:r>
              <a:rPr lang="cs-CZ" sz="2000" b="1" dirty="0">
                <a:solidFill>
                  <a:srgbClr val="3F3F3F"/>
                </a:solidFill>
                <a:latin typeface="Tw Cen MT" panose="020B0602020104020603" pitchFamily="34" charset="-18"/>
                <a:ea typeface="Ebrima" panose="02000000000000000000" pitchFamily="2" charset="0"/>
                <a:cs typeface="Ebrima" panose="02000000000000000000" pitchFamily="2" charset="0"/>
              </a:rPr>
              <a:t>NIS2 </a:t>
            </a:r>
          </a:p>
        </p:txBody>
      </p:sp>
      <p:sp>
        <p:nvSpPr>
          <p:cNvPr id="10" name="BlokTextu 9">
            <a:extLst>
              <a:ext uri="{FF2B5EF4-FFF2-40B4-BE49-F238E27FC236}">
                <a16:creationId xmlns:a16="http://schemas.microsoft.com/office/drawing/2014/main" xmlns="" id="{960FE4DF-B02F-4037-3F50-E39D3C6842BD}"/>
              </a:ext>
            </a:extLst>
          </p:cNvPr>
          <p:cNvSpPr txBox="1"/>
          <p:nvPr/>
        </p:nvSpPr>
        <p:spPr>
          <a:xfrm>
            <a:off x="8333481" y="4756582"/>
            <a:ext cx="294732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k-SK" sz="2000" b="1" dirty="0"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07/2024 </a:t>
            </a:r>
          </a:p>
          <a:p>
            <a:pPr algn="ctr"/>
            <a:r>
              <a:rPr lang="cs-CZ" sz="2000" b="1" dirty="0">
                <a:solidFill>
                  <a:srgbClr val="3F3F3F"/>
                </a:solidFill>
                <a:latin typeface="Tw Cen MT" panose="020B0602020104020603" pitchFamily="34" charset="-18"/>
                <a:ea typeface="Ebrima" panose="02000000000000000000" pitchFamily="2" charset="0"/>
                <a:cs typeface="Ebrima" panose="02000000000000000000" pitchFamily="2" charset="0"/>
              </a:rPr>
              <a:t>Nové povinnosti </a:t>
            </a:r>
          </a:p>
          <a:p>
            <a:pPr algn="ctr"/>
            <a:r>
              <a:rPr lang="cs-CZ" sz="2000" b="1" dirty="0">
                <a:solidFill>
                  <a:srgbClr val="3F3F3F"/>
                </a:solidFill>
                <a:latin typeface="Tw Cen MT" panose="020B0602020104020603" pitchFamily="34" charset="-18"/>
                <a:ea typeface="Ebrima" panose="02000000000000000000" pitchFamily="2" charset="0"/>
                <a:cs typeface="Ebrima" panose="02000000000000000000" pitchFamily="2" charset="0"/>
              </a:rPr>
              <a:t>První vyrozumění od NÚKIB </a:t>
            </a:r>
          </a:p>
        </p:txBody>
      </p:sp>
      <p:sp>
        <p:nvSpPr>
          <p:cNvPr id="11" name="BlokTextu 10">
            <a:extLst>
              <a:ext uri="{FF2B5EF4-FFF2-40B4-BE49-F238E27FC236}">
                <a16:creationId xmlns:a16="http://schemas.microsoft.com/office/drawing/2014/main" xmlns="" id="{260289F2-567D-C611-0C5C-DBE68A7E6482}"/>
              </a:ext>
            </a:extLst>
          </p:cNvPr>
          <p:cNvSpPr txBox="1"/>
          <p:nvPr/>
        </p:nvSpPr>
        <p:spPr>
          <a:xfrm>
            <a:off x="5481589" y="4756582"/>
            <a:ext cx="224749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k-SK" sz="2000" b="1" dirty="0"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10/2023</a:t>
            </a:r>
          </a:p>
          <a:p>
            <a:pPr algn="ctr"/>
            <a:r>
              <a:rPr lang="cs-CZ" sz="2000" b="1" dirty="0">
                <a:solidFill>
                  <a:srgbClr val="3F3F3F"/>
                </a:solidFill>
                <a:latin typeface="Tw Cen MT" panose="020B0602020104020603" pitchFamily="34" charset="-18"/>
                <a:ea typeface="Ebrima" panose="02000000000000000000" pitchFamily="2" charset="0"/>
                <a:cs typeface="Ebrima" panose="02000000000000000000" pitchFamily="2" charset="0"/>
              </a:rPr>
              <a:t>Novelizace zákona</a:t>
            </a:r>
          </a:p>
          <a:p>
            <a:pPr algn="ctr"/>
            <a:r>
              <a:rPr lang="cs-CZ" sz="2000" b="1" dirty="0">
                <a:solidFill>
                  <a:srgbClr val="3F3F3F"/>
                </a:solidFill>
                <a:latin typeface="Tw Cen MT" panose="020B0602020104020603" pitchFamily="34" charset="-18"/>
                <a:ea typeface="Ebrima" panose="02000000000000000000" pitchFamily="2" charset="0"/>
                <a:cs typeface="Ebrima" panose="02000000000000000000" pitchFamily="2" charset="0"/>
              </a:rPr>
              <a:t>16.10.2023</a:t>
            </a:r>
          </a:p>
        </p:txBody>
      </p:sp>
      <p:sp>
        <p:nvSpPr>
          <p:cNvPr id="12" name="Šípka: doprava 11">
            <a:extLst>
              <a:ext uri="{FF2B5EF4-FFF2-40B4-BE49-F238E27FC236}">
                <a16:creationId xmlns:a16="http://schemas.microsoft.com/office/drawing/2014/main" xmlns="" id="{71683F97-5DA9-DED3-97A4-B0B01DA576B8}"/>
              </a:ext>
            </a:extLst>
          </p:cNvPr>
          <p:cNvSpPr/>
          <p:nvPr/>
        </p:nvSpPr>
        <p:spPr>
          <a:xfrm>
            <a:off x="2369406" y="4951054"/>
            <a:ext cx="536623" cy="353943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13" name="Šípka: doprava 12">
            <a:extLst>
              <a:ext uri="{FF2B5EF4-FFF2-40B4-BE49-F238E27FC236}">
                <a16:creationId xmlns:a16="http://schemas.microsoft.com/office/drawing/2014/main" xmlns="" id="{C47C5399-A9F0-56C0-7B4E-B4FC45AE81BC}"/>
              </a:ext>
            </a:extLst>
          </p:cNvPr>
          <p:cNvSpPr/>
          <p:nvPr/>
        </p:nvSpPr>
        <p:spPr>
          <a:xfrm>
            <a:off x="4812208" y="4951055"/>
            <a:ext cx="536623" cy="353943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14" name="Šípka: doprava 13">
            <a:extLst>
              <a:ext uri="{FF2B5EF4-FFF2-40B4-BE49-F238E27FC236}">
                <a16:creationId xmlns:a16="http://schemas.microsoft.com/office/drawing/2014/main" xmlns="" id="{A7214AD7-3DC7-FE67-08ED-5344B9023B64}"/>
              </a:ext>
            </a:extLst>
          </p:cNvPr>
          <p:cNvSpPr/>
          <p:nvPr/>
        </p:nvSpPr>
        <p:spPr>
          <a:xfrm>
            <a:off x="7725267" y="4955214"/>
            <a:ext cx="536623" cy="353943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459884272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5">
            <a:extLst>
              <a:ext uri="{FF2B5EF4-FFF2-40B4-BE49-F238E27FC236}">
                <a16:creationId xmlns:a16="http://schemas.microsoft.com/office/drawing/2014/main" xmlns="" id="{AC48742B-6783-4600-9D60-65E4B1083F01}"/>
              </a:ext>
            </a:extLst>
          </p:cNvPr>
          <p:cNvSpPr txBox="1">
            <a:spLocks/>
          </p:cNvSpPr>
          <p:nvPr/>
        </p:nvSpPr>
        <p:spPr>
          <a:xfrm>
            <a:off x="782445" y="283026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37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1pPr>
          </a:lstStyle>
          <a:p>
            <a:r>
              <a:rPr lang="cs-CZ" sz="4900" dirty="0">
                <a:solidFill>
                  <a:schemeClr val="tx2"/>
                </a:solidFill>
              </a:rPr>
              <a:t>Jak se </a:t>
            </a:r>
            <a:r>
              <a:rPr lang="cs-CZ" sz="4900" dirty="0">
                <a:solidFill>
                  <a:srgbClr val="FF0000"/>
                </a:solidFill>
              </a:rPr>
              <a:t>připravit</a:t>
            </a:r>
            <a:r>
              <a:rPr lang="cs-CZ" sz="4900" dirty="0">
                <a:solidFill>
                  <a:schemeClr val="tx2"/>
                </a:solidFill>
              </a:rPr>
              <a:t> na </a:t>
            </a:r>
            <a:r>
              <a:rPr lang="cs-CZ" sz="4900" dirty="0">
                <a:solidFill>
                  <a:srgbClr val="FF0000"/>
                </a:solidFill>
              </a:rPr>
              <a:t>NIS 2</a:t>
            </a:r>
            <a:r>
              <a:rPr lang="cs-CZ" sz="4900" dirty="0">
                <a:solidFill>
                  <a:schemeClr val="tx2"/>
                </a:solidFill>
              </a:rPr>
              <a:t> v organizaci?</a:t>
            </a:r>
            <a:r>
              <a:rPr lang="pl-PL" sz="4900" dirty="0">
                <a:solidFill>
                  <a:schemeClr val="tx2"/>
                </a:solidFill>
              </a:rPr>
              <a:t/>
            </a:r>
            <a:br>
              <a:rPr lang="pl-PL" sz="4900" dirty="0">
                <a:solidFill>
                  <a:schemeClr val="tx2"/>
                </a:solidFill>
              </a:rPr>
            </a:br>
            <a:endParaRPr lang="sk-SK" i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0734878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Zástupný symbol pro obsah 3"/>
          <p:cNvGraphicFramePr>
            <a:graphicFrameLocks noGrp="1"/>
          </p:cNvGraphicFramePr>
          <p:nvPr>
            <p:ph idx="1"/>
          </p:nvPr>
        </p:nvGraphicFramePr>
        <p:xfrm>
          <a:off x="1362838" y="1591184"/>
          <a:ext cx="9345750" cy="39756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ovnoramenný trojúhelník 4">
            <a:extLst>
              <a:ext uri="{FF2B5EF4-FFF2-40B4-BE49-F238E27FC236}">
                <a16:creationId xmlns:a16="http://schemas.microsoft.com/office/drawing/2014/main" xmlns="" id="{150B0E8E-E69B-A142-BA9F-6024B83CA203}"/>
              </a:ext>
            </a:extLst>
          </p:cNvPr>
          <p:cNvSpPr/>
          <p:nvPr/>
        </p:nvSpPr>
        <p:spPr>
          <a:xfrm>
            <a:off x="964645" y="80390"/>
            <a:ext cx="10269415" cy="1078719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800" b="1" dirty="0">
                <a:solidFill>
                  <a:schemeClr val="tx2"/>
                </a:solidFill>
                <a:latin typeface="Tw Cen MT" panose="020B0602020104020603" pitchFamily="34" charset="-18"/>
              </a:rPr>
              <a:t>Kybernetická bezpečnost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xmlns="" id="{3AF5585C-1130-C515-084B-89EF76B62549}"/>
              </a:ext>
            </a:extLst>
          </p:cNvPr>
          <p:cNvSpPr/>
          <p:nvPr/>
        </p:nvSpPr>
        <p:spPr>
          <a:xfrm>
            <a:off x="1252309" y="1159109"/>
            <a:ext cx="9620013" cy="3918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xmlns="" id="{CF671BD9-85CC-1E42-FB78-61BEBB8357E1}"/>
              </a:ext>
            </a:extLst>
          </p:cNvPr>
          <p:cNvSpPr/>
          <p:nvPr/>
        </p:nvSpPr>
        <p:spPr>
          <a:xfrm>
            <a:off x="1406771" y="5566787"/>
            <a:ext cx="2924070" cy="2512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xmlns="" id="{B93EF692-00FD-D9FD-8EB1-CE8E31B92A60}"/>
              </a:ext>
            </a:extLst>
          </p:cNvPr>
          <p:cNvSpPr/>
          <p:nvPr/>
        </p:nvSpPr>
        <p:spPr>
          <a:xfrm>
            <a:off x="4573678" y="5566787"/>
            <a:ext cx="2924070" cy="2512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xmlns="" id="{59927A44-0C17-F26C-FB29-DBF07CDDC4D5}"/>
              </a:ext>
            </a:extLst>
          </p:cNvPr>
          <p:cNvSpPr/>
          <p:nvPr/>
        </p:nvSpPr>
        <p:spPr>
          <a:xfrm>
            <a:off x="7780777" y="5566786"/>
            <a:ext cx="2924070" cy="2512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xmlns="" id="{8A6CE12A-DA1B-9FE5-6371-1C448D313B64}"/>
              </a:ext>
            </a:extLst>
          </p:cNvPr>
          <p:cNvSpPr/>
          <p:nvPr/>
        </p:nvSpPr>
        <p:spPr>
          <a:xfrm>
            <a:off x="1307125" y="5817995"/>
            <a:ext cx="3083171" cy="2512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xmlns="" id="{93021A31-9CE5-20F3-59F8-4C6B0C1F9915}"/>
              </a:ext>
            </a:extLst>
          </p:cNvPr>
          <p:cNvSpPr/>
          <p:nvPr/>
        </p:nvSpPr>
        <p:spPr>
          <a:xfrm>
            <a:off x="4510681" y="5828042"/>
            <a:ext cx="3083171" cy="2512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xmlns="" id="{C43BBF1D-75F0-11EA-B233-47D520DCCA23}"/>
              </a:ext>
            </a:extLst>
          </p:cNvPr>
          <p:cNvSpPr/>
          <p:nvPr/>
        </p:nvSpPr>
        <p:spPr>
          <a:xfrm>
            <a:off x="7714237" y="5833065"/>
            <a:ext cx="3083171" cy="2512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19203987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Zástupný symbol pro obsah 3">
            <a:extLst>
              <a:ext uri="{FF2B5EF4-FFF2-40B4-BE49-F238E27FC236}">
                <a16:creationId xmlns:a16="http://schemas.microsoft.com/office/drawing/2014/main" xmlns="" id="{A95AED78-F564-4AC1-8A6A-CAEE52E962DA}"/>
              </a:ext>
            </a:extLst>
          </p:cNvPr>
          <p:cNvSpPr txBox="1">
            <a:spLocks/>
          </p:cNvSpPr>
          <p:nvPr/>
        </p:nvSpPr>
        <p:spPr>
          <a:xfrm>
            <a:off x="1237093" y="2666175"/>
            <a:ext cx="5194187" cy="1913894"/>
          </a:xfrm>
          <a:prstGeom prst="rect">
            <a:avLst/>
          </a:prstGeom>
        </p:spPr>
        <p:txBody>
          <a:bodyPr/>
          <a:lstStyle>
            <a:lvl1pPr marL="381008" indent="-381008" algn="l" defTabSz="1524030" rtl="0" eaLnBrk="1" latinLnBrk="0" hangingPunct="1">
              <a:lnSpc>
                <a:spcPct val="90000"/>
              </a:lnSpc>
              <a:spcBef>
                <a:spcPts val="1667"/>
              </a:spcBef>
              <a:buFont typeface="Arial" panose="020B0604020202020204" pitchFamily="34" charset="0"/>
              <a:buChar char="•"/>
              <a:defRPr sz="4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43023" indent="-381008" algn="l" defTabSz="1524030" rtl="0" eaLnBrk="1" latinLnBrk="0" hangingPunct="1">
              <a:lnSpc>
                <a:spcPct val="90000"/>
              </a:lnSpc>
              <a:spcBef>
                <a:spcPts val="833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905038" indent="-381008" algn="l" defTabSz="1524030" rtl="0" eaLnBrk="1" latinLnBrk="0" hangingPunct="1">
              <a:lnSpc>
                <a:spcPct val="90000"/>
              </a:lnSpc>
              <a:spcBef>
                <a:spcPts val="833"/>
              </a:spcBef>
              <a:buFont typeface="Arial" panose="020B0604020202020204" pitchFamily="34" charset="0"/>
              <a:buChar char="•"/>
              <a:defRPr sz="3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53" indent="-381008" algn="l" defTabSz="1524030" rtl="0" eaLnBrk="1" latinLnBrk="0" hangingPunct="1">
              <a:lnSpc>
                <a:spcPct val="90000"/>
              </a:lnSpc>
              <a:spcBef>
                <a:spcPts val="833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29069" indent="-381008" algn="l" defTabSz="1524030" rtl="0" eaLnBrk="1" latinLnBrk="0" hangingPunct="1">
              <a:lnSpc>
                <a:spcPct val="90000"/>
              </a:lnSpc>
              <a:spcBef>
                <a:spcPts val="833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191084" indent="-381008" algn="l" defTabSz="1524030" rtl="0" eaLnBrk="1" latinLnBrk="0" hangingPunct="1">
              <a:lnSpc>
                <a:spcPct val="90000"/>
              </a:lnSpc>
              <a:spcBef>
                <a:spcPts val="833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953099" indent="-381008" algn="l" defTabSz="1524030" rtl="0" eaLnBrk="1" latinLnBrk="0" hangingPunct="1">
              <a:lnSpc>
                <a:spcPct val="90000"/>
              </a:lnSpc>
              <a:spcBef>
                <a:spcPts val="833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15114" indent="-381008" algn="l" defTabSz="1524030" rtl="0" eaLnBrk="1" latinLnBrk="0" hangingPunct="1">
              <a:lnSpc>
                <a:spcPct val="90000"/>
              </a:lnSpc>
              <a:spcBef>
                <a:spcPts val="833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77130" indent="-381008" algn="l" defTabSz="1524030" rtl="0" eaLnBrk="1" latinLnBrk="0" hangingPunct="1">
              <a:lnSpc>
                <a:spcPct val="90000"/>
              </a:lnSpc>
              <a:spcBef>
                <a:spcPts val="833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sz="1440">
              <a:latin typeface="Tw Cen MT" panose="020B0602020104020603" pitchFamily="34" charset="-18"/>
            </a:endParaRPr>
          </a:p>
        </p:txBody>
      </p:sp>
      <p:sp>
        <p:nvSpPr>
          <p:cNvPr id="43" name="Zástupný objekt pre obsah 2">
            <a:extLst>
              <a:ext uri="{FF2B5EF4-FFF2-40B4-BE49-F238E27FC236}">
                <a16:creationId xmlns:a16="http://schemas.microsoft.com/office/drawing/2014/main" xmlns="" id="{A5D5EEAD-D832-4C19-80C2-C7380BBCA6D6}"/>
              </a:ext>
            </a:extLst>
          </p:cNvPr>
          <p:cNvSpPr txBox="1">
            <a:spLocks/>
          </p:cNvSpPr>
          <p:nvPr/>
        </p:nvSpPr>
        <p:spPr>
          <a:xfrm>
            <a:off x="7835537" y="2289282"/>
            <a:ext cx="3985953" cy="2290786"/>
          </a:xfrm>
          <a:prstGeom prst="rect">
            <a:avLst/>
          </a:prstGeom>
        </p:spPr>
        <p:txBody>
          <a:bodyPr>
            <a:noAutofit/>
          </a:bodyPr>
          <a:lstStyle>
            <a:lvl1pPr marL="381008" indent="-381008" algn="l" defTabSz="1524030" rtl="0" eaLnBrk="1" latinLnBrk="0" hangingPunct="1">
              <a:lnSpc>
                <a:spcPct val="90000"/>
              </a:lnSpc>
              <a:spcBef>
                <a:spcPts val="1667"/>
              </a:spcBef>
              <a:buFont typeface="Arial" panose="020B0604020202020204" pitchFamily="34" charset="0"/>
              <a:buChar char="•"/>
              <a:defRPr sz="4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43023" indent="-381008" algn="l" defTabSz="1524030" rtl="0" eaLnBrk="1" latinLnBrk="0" hangingPunct="1">
              <a:lnSpc>
                <a:spcPct val="90000"/>
              </a:lnSpc>
              <a:spcBef>
                <a:spcPts val="833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905038" indent="-381008" algn="l" defTabSz="1524030" rtl="0" eaLnBrk="1" latinLnBrk="0" hangingPunct="1">
              <a:lnSpc>
                <a:spcPct val="90000"/>
              </a:lnSpc>
              <a:spcBef>
                <a:spcPts val="833"/>
              </a:spcBef>
              <a:buFont typeface="Arial" panose="020B0604020202020204" pitchFamily="34" charset="0"/>
              <a:buChar char="•"/>
              <a:defRPr sz="3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53" indent="-381008" algn="l" defTabSz="1524030" rtl="0" eaLnBrk="1" latinLnBrk="0" hangingPunct="1">
              <a:lnSpc>
                <a:spcPct val="90000"/>
              </a:lnSpc>
              <a:spcBef>
                <a:spcPts val="833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29069" indent="-381008" algn="l" defTabSz="1524030" rtl="0" eaLnBrk="1" latinLnBrk="0" hangingPunct="1">
              <a:lnSpc>
                <a:spcPct val="90000"/>
              </a:lnSpc>
              <a:spcBef>
                <a:spcPts val="833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191084" indent="-381008" algn="l" defTabSz="1524030" rtl="0" eaLnBrk="1" latinLnBrk="0" hangingPunct="1">
              <a:lnSpc>
                <a:spcPct val="90000"/>
              </a:lnSpc>
              <a:spcBef>
                <a:spcPts val="833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953099" indent="-381008" algn="l" defTabSz="1524030" rtl="0" eaLnBrk="1" latinLnBrk="0" hangingPunct="1">
              <a:lnSpc>
                <a:spcPct val="90000"/>
              </a:lnSpc>
              <a:spcBef>
                <a:spcPts val="833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15114" indent="-381008" algn="l" defTabSz="1524030" rtl="0" eaLnBrk="1" latinLnBrk="0" hangingPunct="1">
              <a:lnSpc>
                <a:spcPct val="90000"/>
              </a:lnSpc>
              <a:spcBef>
                <a:spcPts val="833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77130" indent="-381008" algn="l" defTabSz="1524030" rtl="0" eaLnBrk="1" latinLnBrk="0" hangingPunct="1">
              <a:lnSpc>
                <a:spcPct val="90000"/>
              </a:lnSpc>
              <a:spcBef>
                <a:spcPts val="833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00" i="1">
              <a:solidFill>
                <a:schemeClr val="accent4"/>
              </a:solidFill>
              <a:latin typeface="Tw Cen MT" panose="020B0602020104020603" pitchFamily="34" charset="-18"/>
            </a:endParaRPr>
          </a:p>
        </p:txBody>
      </p:sp>
      <p:sp>
        <p:nvSpPr>
          <p:cNvPr id="19" name="Nadpis 2">
            <a:extLst>
              <a:ext uri="{FF2B5EF4-FFF2-40B4-BE49-F238E27FC236}">
                <a16:creationId xmlns:a16="http://schemas.microsoft.com/office/drawing/2014/main" xmlns="" id="{E8742ECE-AE7F-4CA3-97BC-273AB0F462DC}"/>
              </a:ext>
            </a:extLst>
          </p:cNvPr>
          <p:cNvSpPr txBox="1">
            <a:spLocks/>
          </p:cNvSpPr>
          <p:nvPr/>
        </p:nvSpPr>
        <p:spPr>
          <a:xfrm>
            <a:off x="838201" y="754378"/>
            <a:ext cx="7100455" cy="88381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7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1pPr>
          </a:lstStyle>
          <a:p>
            <a:r>
              <a:rPr lang="cs-CZ">
                <a:solidFill>
                  <a:schemeClr val="tx2"/>
                </a:solidFill>
                <a:latin typeface="Lato Regular"/>
              </a:rPr>
              <a:t>Jak to děláme?</a:t>
            </a:r>
          </a:p>
        </p:txBody>
      </p:sp>
      <p:sp>
        <p:nvSpPr>
          <p:cNvPr id="20" name="Zástupný symbol pro obsah 1">
            <a:extLst>
              <a:ext uri="{FF2B5EF4-FFF2-40B4-BE49-F238E27FC236}">
                <a16:creationId xmlns:a16="http://schemas.microsoft.com/office/drawing/2014/main" xmlns="" id="{8F373ADB-FA28-40E7-9293-2C5A72C0A1A6}"/>
              </a:ext>
            </a:extLst>
          </p:cNvPr>
          <p:cNvSpPr txBox="1">
            <a:spLocks/>
          </p:cNvSpPr>
          <p:nvPr/>
        </p:nvSpPr>
        <p:spPr>
          <a:xfrm>
            <a:off x="8820432" y="2549917"/>
            <a:ext cx="3304894" cy="2325581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0" indent="0" algn="l" defTabSz="914372" rtl="0" eaLnBrk="1" latinLnBrk="0" hangingPunct="1">
              <a:lnSpc>
                <a:spcPct val="90000"/>
              </a:lnSpc>
              <a:spcBef>
                <a:spcPts val="1001"/>
              </a:spcBef>
              <a:buFontTx/>
              <a:buNone/>
              <a:defRPr sz="3200" b="1" kern="1200">
                <a:solidFill>
                  <a:schemeClr val="tx2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1pPr>
            <a:lvl2pPr marL="457186" indent="0" algn="l" defTabSz="9143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2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2pPr>
            <a:lvl3pPr marL="1142967" indent="-228593" algn="l" defTabSz="9143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4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3pPr>
            <a:lvl4pPr marL="1600153" indent="-228593" algn="l" defTabSz="9143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2">
                    <a:lumMod val="50000"/>
                  </a:schemeClr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4pPr>
            <a:lvl5pPr marL="2057339" indent="-228593" algn="l" defTabSz="9143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2">
                    <a:lumMod val="75000"/>
                  </a:schemeClr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5pPr>
            <a:lvl6pPr marL="2514526" indent="-228593" algn="l" defTabSz="9143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14" indent="-228593" algn="l" defTabSz="9143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00" indent="-228593" algn="l" defTabSz="9143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86" indent="-228593" algn="l" defTabSz="9143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cs-CZ" sz="4400">
                <a:solidFill>
                  <a:srgbClr val="FF0000"/>
                </a:solidFill>
                <a:latin typeface="Consolas" panose="020B0609020204030204" pitchFamily="49" charset="0"/>
              </a:rPr>
              <a:t>D</a:t>
            </a:r>
            <a:r>
              <a:rPr lang="cs-CZ" sz="4400">
                <a:solidFill>
                  <a:srgbClr val="445469"/>
                </a:solidFill>
                <a:latin typeface="Consolas" panose="020B0609020204030204" pitchFamily="49" charset="0"/>
              </a:rPr>
              <a:t>etekce</a:t>
            </a:r>
          </a:p>
          <a:p>
            <a:pPr>
              <a:lnSpc>
                <a:spcPct val="100000"/>
              </a:lnSpc>
            </a:pPr>
            <a:r>
              <a:rPr lang="cs-CZ" sz="4400">
                <a:solidFill>
                  <a:srgbClr val="FF0000"/>
                </a:solidFill>
                <a:latin typeface="Consolas" panose="020B0609020204030204" pitchFamily="49" charset="0"/>
              </a:rPr>
              <a:t>A</a:t>
            </a:r>
            <a:r>
              <a:rPr lang="cs-CZ" sz="4400">
                <a:solidFill>
                  <a:srgbClr val="445469"/>
                </a:solidFill>
                <a:latin typeface="Consolas" panose="020B0609020204030204" pitchFamily="49" charset="0"/>
              </a:rPr>
              <a:t>nalytika</a:t>
            </a:r>
            <a:endParaRPr lang="cs-CZ" sz="1800">
              <a:solidFill>
                <a:schemeClr val="tx2">
                  <a:lumMod val="40000"/>
                  <a:lumOff val="60000"/>
                </a:schemeClr>
              </a:solidFill>
              <a:latin typeface="Consolas" panose="020B0609020204030204" pitchFamily="49" charset="0"/>
            </a:endParaRPr>
          </a:p>
          <a:p>
            <a:pPr>
              <a:lnSpc>
                <a:spcPct val="100000"/>
              </a:lnSpc>
            </a:pPr>
            <a:r>
              <a:rPr lang="cs-CZ" sz="4400">
                <a:solidFill>
                  <a:srgbClr val="FF0000"/>
                </a:solidFill>
                <a:latin typeface="Consolas" panose="020B0609020204030204" pitchFamily="49" charset="0"/>
              </a:rPr>
              <a:t>K</a:t>
            </a:r>
            <a:r>
              <a:rPr lang="cs-CZ" sz="4400">
                <a:solidFill>
                  <a:srgbClr val="445469"/>
                </a:solidFill>
                <a:latin typeface="Consolas" panose="020B0609020204030204" pitchFamily="49" charset="0"/>
              </a:rPr>
              <a:t>omunikace</a:t>
            </a:r>
            <a:endParaRPr lang="cs-CZ" sz="440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5FE55F5-EFF7-443E-B957-7D9C424FF9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74" y="1638190"/>
            <a:ext cx="8739010" cy="4024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44468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Temp\SNAGHTML20069c1d.PNG">
            <a:extLst>
              <a:ext uri="{FF2B5EF4-FFF2-40B4-BE49-F238E27FC236}">
                <a16:creationId xmlns:a16="http://schemas.microsoft.com/office/drawing/2014/main" xmlns="" id="{37813E4C-8D49-485C-9D97-CCC314EAE6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983" y="1089309"/>
            <a:ext cx="3265067" cy="1723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Zástupný symbol pro obsah 1">
            <a:extLst>
              <a:ext uri="{FF2B5EF4-FFF2-40B4-BE49-F238E27FC236}">
                <a16:creationId xmlns:a16="http://schemas.microsoft.com/office/drawing/2014/main" xmlns="" id="{EF56FF7B-85FF-4ADD-B533-47DEC7B3E2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89524" y="685800"/>
            <a:ext cx="5002476" cy="5301452"/>
          </a:xfrm>
        </p:spPr>
        <p:txBody>
          <a:bodyPr>
            <a:normAutofit fontScale="92500" lnSpcReduction="20000"/>
          </a:bodyPr>
          <a:lstStyle/>
          <a:p>
            <a:r>
              <a:rPr lang="cs-CZ" dirty="0">
                <a:solidFill>
                  <a:schemeClr val="tx1"/>
                </a:solidFill>
              </a:rPr>
              <a:t>S</a:t>
            </a:r>
            <a:r>
              <a:rPr lang="cs-CZ" dirty="0"/>
              <a:t>oftware</a:t>
            </a:r>
            <a:endParaRPr lang="en-US" b="1" dirty="0">
              <a:solidFill>
                <a:srgbClr val="FF0000"/>
              </a:solidFill>
              <a:cs typeface="Calibri" panose="020F0502020204030204" pitchFamily="34" charset="0"/>
            </a:endParaRPr>
          </a:p>
          <a:p>
            <a:pPr lvl="1"/>
            <a:r>
              <a:rPr lang="cs-CZ" sz="2000" dirty="0">
                <a:cs typeface="Calibri" panose="020F0502020204030204" pitchFamily="34" charset="0"/>
              </a:rPr>
              <a:t>Event Management, SIEM, UBA, NDR, EDR, </a:t>
            </a:r>
            <a:r>
              <a:rPr lang="en-US" sz="2000" dirty="0">
                <a:cs typeface="Calibri" panose="020F0502020204030204" pitchFamily="34" charset="0"/>
              </a:rPr>
              <a:t>VA, SOAR, </a:t>
            </a:r>
            <a:r>
              <a:rPr lang="cs-CZ" sz="2000" dirty="0">
                <a:cs typeface="Calibri" panose="020F0502020204030204" pitchFamily="34" charset="0"/>
              </a:rPr>
              <a:t>Provozní monitoring, Ticketing, Dashboardy</a:t>
            </a:r>
          </a:p>
          <a:p>
            <a:r>
              <a:rPr lang="sk-SK" b="1" dirty="0">
                <a:solidFill>
                  <a:schemeClr val="tx1"/>
                </a:solidFill>
                <a:cs typeface="Calibri" panose="020F0502020204030204" pitchFamily="34" charset="0"/>
              </a:rPr>
              <a:t>A</a:t>
            </a:r>
            <a:r>
              <a:rPr lang="sk-SK" b="1" dirty="0">
                <a:cs typeface="Calibri" panose="020F0502020204030204" pitchFamily="34" charset="0"/>
              </a:rPr>
              <a:t>nalytika</a:t>
            </a:r>
            <a:endParaRPr lang="en-US" b="1" dirty="0">
              <a:cs typeface="Calibri" panose="020F0502020204030204" pitchFamily="34" charset="0"/>
            </a:endParaRPr>
          </a:p>
          <a:p>
            <a:pPr lvl="1"/>
            <a:r>
              <a:rPr lang="en-US" sz="2000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Hunting Unknown Unknowns</a:t>
            </a:r>
          </a:p>
          <a:p>
            <a:pPr lvl="1"/>
            <a:r>
              <a:rPr lang="en-US" sz="2000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Reporting/KPI</a:t>
            </a:r>
          </a:p>
          <a:p>
            <a:pPr lvl="1"/>
            <a:r>
              <a:rPr lang="en-US" sz="2000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Threats Exchange/MISP</a:t>
            </a:r>
          </a:p>
          <a:p>
            <a:pPr lvl="1"/>
            <a:r>
              <a:rPr lang="en-US" sz="2000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Threats Intelligence</a:t>
            </a:r>
          </a:p>
          <a:p>
            <a:pPr lvl="1"/>
            <a:r>
              <a:rPr lang="en-US" sz="2000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Vulnerability Management</a:t>
            </a:r>
          </a:p>
          <a:p>
            <a:pPr lvl="1"/>
            <a:r>
              <a:rPr lang="en-US" sz="2000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Runbooks / The Hive</a:t>
            </a:r>
          </a:p>
          <a:p>
            <a:r>
              <a:rPr lang="sk-SK" b="1" dirty="0">
                <a:solidFill>
                  <a:schemeClr val="tx1"/>
                </a:solidFill>
                <a:cs typeface="Calibri" panose="020F0502020204030204" pitchFamily="34" charset="0"/>
              </a:rPr>
              <a:t>L</a:t>
            </a:r>
            <a:r>
              <a:rPr lang="en-US" b="1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id</a:t>
            </a:r>
            <a:r>
              <a:rPr lang="sk-SK" b="1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é</a:t>
            </a:r>
          </a:p>
          <a:p>
            <a:endParaRPr lang="en-US" b="1" dirty="0">
              <a:solidFill>
                <a:schemeClr val="bg2">
                  <a:lumMod val="25000"/>
                </a:schemeClr>
              </a:solidFill>
              <a:cs typeface="Calibri" panose="020F0502020204030204" pitchFamily="34" charset="0"/>
            </a:endParaRPr>
          </a:p>
          <a:p>
            <a:r>
              <a:rPr lang="cs-CZ" dirty="0">
                <a:solidFill>
                  <a:schemeClr val="tx1"/>
                </a:solidFill>
                <a:cs typeface="Calibri" panose="020F0502020204030204" pitchFamily="34" charset="0"/>
              </a:rPr>
              <a:t>P</a:t>
            </a:r>
            <a:r>
              <a:rPr lang="cs-CZ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rocesy</a:t>
            </a:r>
            <a:endParaRPr lang="en-US" b="0" dirty="0">
              <a:solidFill>
                <a:schemeClr val="bg2">
                  <a:lumMod val="25000"/>
                </a:schemeClr>
              </a:solidFill>
              <a:cs typeface="Calibri" panose="020F0502020204030204" pitchFamily="34" charset="0"/>
            </a:endParaRPr>
          </a:p>
          <a:p>
            <a:pPr lvl="1"/>
            <a:r>
              <a:rPr lang="cs-CZ" sz="2000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Incident Response, konzultace, tvorba obsahu, vzdělávání</a:t>
            </a:r>
          </a:p>
          <a:p>
            <a:pPr lvl="1"/>
            <a:r>
              <a:rPr lang="en-US" sz="2000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CSIRT, Forensics, Purple team</a:t>
            </a:r>
            <a:endParaRPr lang="cs-CZ" sz="2000" dirty="0">
              <a:solidFill>
                <a:schemeClr val="bg2">
                  <a:lumMod val="25000"/>
                </a:schemeClr>
              </a:solidFill>
              <a:cs typeface="Calibri" panose="020F0502020204030204" pitchFamily="34" charset="0"/>
            </a:endParaRPr>
          </a:p>
        </p:txBody>
      </p:sp>
      <p:grpSp>
        <p:nvGrpSpPr>
          <p:cNvPr id="40" name="Skupina 39">
            <a:extLst>
              <a:ext uri="{FF2B5EF4-FFF2-40B4-BE49-F238E27FC236}">
                <a16:creationId xmlns:a16="http://schemas.microsoft.com/office/drawing/2014/main" xmlns="" id="{D51C0FE2-A556-46B6-9EA6-887B3469B461}"/>
              </a:ext>
            </a:extLst>
          </p:cNvPr>
          <p:cNvGrpSpPr/>
          <p:nvPr/>
        </p:nvGrpSpPr>
        <p:grpSpPr>
          <a:xfrm>
            <a:off x="7571515" y="4234940"/>
            <a:ext cx="1703026" cy="512427"/>
            <a:chOff x="6389044" y="7800869"/>
            <a:chExt cx="3200133" cy="1084414"/>
          </a:xfrm>
          <a:solidFill>
            <a:srgbClr val="C00000"/>
          </a:solidFill>
        </p:grpSpPr>
        <p:sp>
          <p:nvSpPr>
            <p:cNvPr id="41" name="Shape 3763">
              <a:extLst>
                <a:ext uri="{FF2B5EF4-FFF2-40B4-BE49-F238E27FC236}">
                  <a16:creationId xmlns:a16="http://schemas.microsoft.com/office/drawing/2014/main" xmlns="" id="{C51703AF-FA9C-4967-BD89-B5309E43FF70}"/>
                </a:ext>
              </a:extLst>
            </p:cNvPr>
            <p:cNvSpPr/>
            <p:nvPr/>
          </p:nvSpPr>
          <p:spPr>
            <a:xfrm>
              <a:off x="8609369" y="7984577"/>
              <a:ext cx="424716" cy="8886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38" y="0"/>
                  </a:moveTo>
                  <a:cubicBezTo>
                    <a:pt x="5538" y="0"/>
                    <a:pt x="5538" y="0"/>
                    <a:pt x="5538" y="0"/>
                  </a:cubicBezTo>
                  <a:cubicBezTo>
                    <a:pt x="1662" y="0"/>
                    <a:pt x="0" y="1580"/>
                    <a:pt x="0" y="2107"/>
                  </a:cubicBezTo>
                  <a:cubicBezTo>
                    <a:pt x="0" y="9746"/>
                    <a:pt x="0" y="9746"/>
                    <a:pt x="0" y="9746"/>
                  </a:cubicBezTo>
                  <a:cubicBezTo>
                    <a:pt x="0" y="10141"/>
                    <a:pt x="831" y="10537"/>
                    <a:pt x="1938" y="10537"/>
                  </a:cubicBezTo>
                  <a:cubicBezTo>
                    <a:pt x="3046" y="10537"/>
                    <a:pt x="3600" y="10141"/>
                    <a:pt x="3600" y="9746"/>
                  </a:cubicBezTo>
                  <a:cubicBezTo>
                    <a:pt x="3600" y="3424"/>
                    <a:pt x="3600" y="3424"/>
                    <a:pt x="3600" y="3424"/>
                  </a:cubicBezTo>
                  <a:cubicBezTo>
                    <a:pt x="5262" y="3424"/>
                    <a:pt x="5262" y="3424"/>
                    <a:pt x="5262" y="3424"/>
                  </a:cubicBezTo>
                  <a:cubicBezTo>
                    <a:pt x="5262" y="9483"/>
                    <a:pt x="5262" y="9483"/>
                    <a:pt x="5262" y="9483"/>
                  </a:cubicBezTo>
                  <a:cubicBezTo>
                    <a:pt x="5262" y="9483"/>
                    <a:pt x="5262" y="9615"/>
                    <a:pt x="5262" y="9746"/>
                  </a:cubicBezTo>
                  <a:cubicBezTo>
                    <a:pt x="5262" y="20283"/>
                    <a:pt x="5262" y="20283"/>
                    <a:pt x="5262" y="20283"/>
                  </a:cubicBezTo>
                  <a:cubicBezTo>
                    <a:pt x="5262" y="21073"/>
                    <a:pt x="6369" y="21600"/>
                    <a:pt x="7754" y="21600"/>
                  </a:cubicBezTo>
                  <a:cubicBezTo>
                    <a:pt x="9138" y="21600"/>
                    <a:pt x="10246" y="21073"/>
                    <a:pt x="10246" y="20283"/>
                  </a:cubicBezTo>
                  <a:cubicBezTo>
                    <a:pt x="10246" y="10932"/>
                    <a:pt x="10246" y="10932"/>
                    <a:pt x="10246" y="10932"/>
                  </a:cubicBezTo>
                  <a:cubicBezTo>
                    <a:pt x="11354" y="10932"/>
                    <a:pt x="11354" y="10932"/>
                    <a:pt x="11354" y="10932"/>
                  </a:cubicBezTo>
                  <a:cubicBezTo>
                    <a:pt x="11354" y="20283"/>
                    <a:pt x="11354" y="20283"/>
                    <a:pt x="11354" y="20283"/>
                  </a:cubicBezTo>
                  <a:cubicBezTo>
                    <a:pt x="11354" y="21073"/>
                    <a:pt x="12462" y="21600"/>
                    <a:pt x="13846" y="21600"/>
                  </a:cubicBezTo>
                  <a:cubicBezTo>
                    <a:pt x="15231" y="21600"/>
                    <a:pt x="16338" y="21073"/>
                    <a:pt x="16338" y="20283"/>
                  </a:cubicBezTo>
                  <a:cubicBezTo>
                    <a:pt x="16338" y="3424"/>
                    <a:pt x="16338" y="3424"/>
                    <a:pt x="16338" y="3424"/>
                  </a:cubicBezTo>
                  <a:cubicBezTo>
                    <a:pt x="17723" y="3424"/>
                    <a:pt x="17723" y="3424"/>
                    <a:pt x="17723" y="3424"/>
                  </a:cubicBezTo>
                  <a:cubicBezTo>
                    <a:pt x="17723" y="9746"/>
                    <a:pt x="17723" y="9746"/>
                    <a:pt x="17723" y="9746"/>
                  </a:cubicBezTo>
                  <a:cubicBezTo>
                    <a:pt x="17723" y="10141"/>
                    <a:pt x="18554" y="10537"/>
                    <a:pt x="19662" y="10537"/>
                  </a:cubicBezTo>
                  <a:cubicBezTo>
                    <a:pt x="20769" y="10537"/>
                    <a:pt x="21600" y="10141"/>
                    <a:pt x="21600" y="9746"/>
                  </a:cubicBezTo>
                  <a:cubicBezTo>
                    <a:pt x="21600" y="1976"/>
                    <a:pt x="21600" y="1976"/>
                    <a:pt x="21600" y="1976"/>
                  </a:cubicBezTo>
                  <a:cubicBezTo>
                    <a:pt x="21600" y="1317"/>
                    <a:pt x="19938" y="0"/>
                    <a:pt x="16338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sp>
          <p:nvSpPr>
            <p:cNvPr id="42" name="Shape 3764">
              <a:extLst>
                <a:ext uri="{FF2B5EF4-FFF2-40B4-BE49-F238E27FC236}">
                  <a16:creationId xmlns:a16="http://schemas.microsoft.com/office/drawing/2014/main" xmlns="" id="{4544015E-1423-4160-82CE-E4782F2CF877}"/>
                </a:ext>
              </a:extLst>
            </p:cNvPr>
            <p:cNvSpPr/>
            <p:nvPr/>
          </p:nvSpPr>
          <p:spPr>
            <a:xfrm>
              <a:off x="8740225" y="7800869"/>
              <a:ext cx="169888" cy="1676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sp>
          <p:nvSpPr>
            <p:cNvPr id="43" name="Shape 3765">
              <a:extLst>
                <a:ext uri="{FF2B5EF4-FFF2-40B4-BE49-F238E27FC236}">
                  <a16:creationId xmlns:a16="http://schemas.microsoft.com/office/drawing/2014/main" xmlns="" id="{ED56BA20-DA27-49F8-A98D-B73CD610082B}"/>
                </a:ext>
              </a:extLst>
            </p:cNvPr>
            <p:cNvSpPr/>
            <p:nvPr/>
          </p:nvSpPr>
          <p:spPr>
            <a:xfrm>
              <a:off x="9162907" y="7984578"/>
              <a:ext cx="424716" cy="8886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38" y="0"/>
                  </a:moveTo>
                  <a:cubicBezTo>
                    <a:pt x="5538" y="0"/>
                    <a:pt x="5538" y="0"/>
                    <a:pt x="5538" y="0"/>
                  </a:cubicBezTo>
                  <a:cubicBezTo>
                    <a:pt x="1662" y="0"/>
                    <a:pt x="0" y="1580"/>
                    <a:pt x="0" y="2107"/>
                  </a:cubicBezTo>
                  <a:cubicBezTo>
                    <a:pt x="0" y="9746"/>
                    <a:pt x="0" y="9746"/>
                    <a:pt x="0" y="9746"/>
                  </a:cubicBezTo>
                  <a:cubicBezTo>
                    <a:pt x="0" y="10141"/>
                    <a:pt x="831" y="10537"/>
                    <a:pt x="1938" y="10537"/>
                  </a:cubicBezTo>
                  <a:cubicBezTo>
                    <a:pt x="3046" y="10537"/>
                    <a:pt x="3600" y="10141"/>
                    <a:pt x="3600" y="9746"/>
                  </a:cubicBezTo>
                  <a:cubicBezTo>
                    <a:pt x="3600" y="3424"/>
                    <a:pt x="3600" y="3424"/>
                    <a:pt x="3600" y="3424"/>
                  </a:cubicBezTo>
                  <a:cubicBezTo>
                    <a:pt x="5262" y="3424"/>
                    <a:pt x="5262" y="3424"/>
                    <a:pt x="5262" y="3424"/>
                  </a:cubicBezTo>
                  <a:cubicBezTo>
                    <a:pt x="5262" y="9483"/>
                    <a:pt x="5262" y="9483"/>
                    <a:pt x="5262" y="9483"/>
                  </a:cubicBezTo>
                  <a:cubicBezTo>
                    <a:pt x="5262" y="9483"/>
                    <a:pt x="5262" y="9615"/>
                    <a:pt x="5262" y="9746"/>
                  </a:cubicBezTo>
                  <a:cubicBezTo>
                    <a:pt x="5262" y="20283"/>
                    <a:pt x="5262" y="20283"/>
                    <a:pt x="5262" y="20283"/>
                  </a:cubicBezTo>
                  <a:cubicBezTo>
                    <a:pt x="5262" y="21073"/>
                    <a:pt x="6369" y="21600"/>
                    <a:pt x="7754" y="21600"/>
                  </a:cubicBezTo>
                  <a:cubicBezTo>
                    <a:pt x="9138" y="21600"/>
                    <a:pt x="10246" y="21073"/>
                    <a:pt x="10246" y="20283"/>
                  </a:cubicBezTo>
                  <a:cubicBezTo>
                    <a:pt x="10246" y="10932"/>
                    <a:pt x="10246" y="10932"/>
                    <a:pt x="10246" y="10932"/>
                  </a:cubicBezTo>
                  <a:cubicBezTo>
                    <a:pt x="11354" y="10932"/>
                    <a:pt x="11354" y="10932"/>
                    <a:pt x="11354" y="10932"/>
                  </a:cubicBezTo>
                  <a:cubicBezTo>
                    <a:pt x="11354" y="20283"/>
                    <a:pt x="11354" y="20283"/>
                    <a:pt x="11354" y="20283"/>
                  </a:cubicBezTo>
                  <a:cubicBezTo>
                    <a:pt x="11354" y="21073"/>
                    <a:pt x="12462" y="21600"/>
                    <a:pt x="13846" y="21600"/>
                  </a:cubicBezTo>
                  <a:cubicBezTo>
                    <a:pt x="15231" y="21600"/>
                    <a:pt x="16338" y="21073"/>
                    <a:pt x="16338" y="20283"/>
                  </a:cubicBezTo>
                  <a:cubicBezTo>
                    <a:pt x="16338" y="3424"/>
                    <a:pt x="16338" y="3424"/>
                    <a:pt x="16338" y="3424"/>
                  </a:cubicBezTo>
                  <a:cubicBezTo>
                    <a:pt x="17723" y="3424"/>
                    <a:pt x="17723" y="3424"/>
                    <a:pt x="17723" y="3424"/>
                  </a:cubicBezTo>
                  <a:cubicBezTo>
                    <a:pt x="17723" y="9746"/>
                    <a:pt x="17723" y="9746"/>
                    <a:pt x="17723" y="9746"/>
                  </a:cubicBezTo>
                  <a:cubicBezTo>
                    <a:pt x="17723" y="10141"/>
                    <a:pt x="18554" y="10537"/>
                    <a:pt x="19662" y="10537"/>
                  </a:cubicBezTo>
                  <a:cubicBezTo>
                    <a:pt x="20769" y="10537"/>
                    <a:pt x="21600" y="10141"/>
                    <a:pt x="21600" y="9746"/>
                  </a:cubicBezTo>
                  <a:cubicBezTo>
                    <a:pt x="21600" y="1976"/>
                    <a:pt x="21600" y="1976"/>
                    <a:pt x="21600" y="1976"/>
                  </a:cubicBezTo>
                  <a:cubicBezTo>
                    <a:pt x="21600" y="1317"/>
                    <a:pt x="19938" y="0"/>
                    <a:pt x="16338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sp>
          <p:nvSpPr>
            <p:cNvPr id="44" name="Shape 3766">
              <a:extLst>
                <a:ext uri="{FF2B5EF4-FFF2-40B4-BE49-F238E27FC236}">
                  <a16:creationId xmlns:a16="http://schemas.microsoft.com/office/drawing/2014/main" xmlns="" id="{0E506690-0E58-4DB7-91A9-817D1CC86248}"/>
                </a:ext>
              </a:extLst>
            </p:cNvPr>
            <p:cNvSpPr/>
            <p:nvPr/>
          </p:nvSpPr>
          <p:spPr>
            <a:xfrm>
              <a:off x="9293766" y="7800871"/>
              <a:ext cx="169888" cy="1676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sp>
          <p:nvSpPr>
            <p:cNvPr id="45" name="Shape 3779">
              <a:extLst>
                <a:ext uri="{FF2B5EF4-FFF2-40B4-BE49-F238E27FC236}">
                  <a16:creationId xmlns:a16="http://schemas.microsoft.com/office/drawing/2014/main" xmlns="" id="{D0F36DAF-931F-4919-A60E-E04E7411CA5B}"/>
                </a:ext>
              </a:extLst>
            </p:cNvPr>
            <p:cNvSpPr/>
            <p:nvPr/>
          </p:nvSpPr>
          <p:spPr>
            <a:xfrm>
              <a:off x="6389044" y="7984589"/>
              <a:ext cx="424716" cy="8886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38" y="0"/>
                  </a:moveTo>
                  <a:cubicBezTo>
                    <a:pt x="5538" y="0"/>
                    <a:pt x="5538" y="0"/>
                    <a:pt x="5538" y="0"/>
                  </a:cubicBezTo>
                  <a:cubicBezTo>
                    <a:pt x="1662" y="0"/>
                    <a:pt x="0" y="1580"/>
                    <a:pt x="0" y="2107"/>
                  </a:cubicBezTo>
                  <a:cubicBezTo>
                    <a:pt x="0" y="9746"/>
                    <a:pt x="0" y="9746"/>
                    <a:pt x="0" y="9746"/>
                  </a:cubicBezTo>
                  <a:cubicBezTo>
                    <a:pt x="0" y="10141"/>
                    <a:pt x="831" y="10537"/>
                    <a:pt x="1938" y="10537"/>
                  </a:cubicBezTo>
                  <a:cubicBezTo>
                    <a:pt x="3046" y="10537"/>
                    <a:pt x="3600" y="10141"/>
                    <a:pt x="3600" y="9746"/>
                  </a:cubicBezTo>
                  <a:cubicBezTo>
                    <a:pt x="3600" y="3424"/>
                    <a:pt x="3600" y="3424"/>
                    <a:pt x="3600" y="3424"/>
                  </a:cubicBezTo>
                  <a:cubicBezTo>
                    <a:pt x="5262" y="3424"/>
                    <a:pt x="5262" y="3424"/>
                    <a:pt x="5262" y="3424"/>
                  </a:cubicBezTo>
                  <a:cubicBezTo>
                    <a:pt x="5262" y="9483"/>
                    <a:pt x="5262" y="9483"/>
                    <a:pt x="5262" y="9483"/>
                  </a:cubicBezTo>
                  <a:cubicBezTo>
                    <a:pt x="5262" y="9483"/>
                    <a:pt x="5262" y="9615"/>
                    <a:pt x="5262" y="9746"/>
                  </a:cubicBezTo>
                  <a:cubicBezTo>
                    <a:pt x="5262" y="20283"/>
                    <a:pt x="5262" y="20283"/>
                    <a:pt x="5262" y="20283"/>
                  </a:cubicBezTo>
                  <a:cubicBezTo>
                    <a:pt x="5262" y="21073"/>
                    <a:pt x="6369" y="21600"/>
                    <a:pt x="7754" y="21600"/>
                  </a:cubicBezTo>
                  <a:cubicBezTo>
                    <a:pt x="9138" y="21600"/>
                    <a:pt x="10246" y="21073"/>
                    <a:pt x="10246" y="20283"/>
                  </a:cubicBezTo>
                  <a:cubicBezTo>
                    <a:pt x="10246" y="10932"/>
                    <a:pt x="10246" y="10932"/>
                    <a:pt x="10246" y="10932"/>
                  </a:cubicBezTo>
                  <a:cubicBezTo>
                    <a:pt x="11354" y="10932"/>
                    <a:pt x="11354" y="10932"/>
                    <a:pt x="11354" y="10932"/>
                  </a:cubicBezTo>
                  <a:cubicBezTo>
                    <a:pt x="11354" y="20283"/>
                    <a:pt x="11354" y="20283"/>
                    <a:pt x="11354" y="20283"/>
                  </a:cubicBezTo>
                  <a:cubicBezTo>
                    <a:pt x="11354" y="21073"/>
                    <a:pt x="12462" y="21600"/>
                    <a:pt x="13846" y="21600"/>
                  </a:cubicBezTo>
                  <a:cubicBezTo>
                    <a:pt x="15231" y="21600"/>
                    <a:pt x="16338" y="21073"/>
                    <a:pt x="16338" y="20283"/>
                  </a:cubicBezTo>
                  <a:cubicBezTo>
                    <a:pt x="16338" y="3424"/>
                    <a:pt x="16338" y="3424"/>
                    <a:pt x="16338" y="3424"/>
                  </a:cubicBezTo>
                  <a:cubicBezTo>
                    <a:pt x="17723" y="3424"/>
                    <a:pt x="17723" y="3424"/>
                    <a:pt x="17723" y="3424"/>
                  </a:cubicBezTo>
                  <a:cubicBezTo>
                    <a:pt x="17723" y="9746"/>
                    <a:pt x="17723" y="9746"/>
                    <a:pt x="17723" y="9746"/>
                  </a:cubicBezTo>
                  <a:cubicBezTo>
                    <a:pt x="17723" y="10141"/>
                    <a:pt x="18554" y="10537"/>
                    <a:pt x="19662" y="10537"/>
                  </a:cubicBezTo>
                  <a:cubicBezTo>
                    <a:pt x="20769" y="10537"/>
                    <a:pt x="21600" y="10141"/>
                    <a:pt x="21600" y="9746"/>
                  </a:cubicBezTo>
                  <a:cubicBezTo>
                    <a:pt x="21600" y="1976"/>
                    <a:pt x="21600" y="1976"/>
                    <a:pt x="21600" y="1976"/>
                  </a:cubicBezTo>
                  <a:cubicBezTo>
                    <a:pt x="21600" y="1317"/>
                    <a:pt x="19938" y="0"/>
                    <a:pt x="16338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sp>
          <p:nvSpPr>
            <p:cNvPr id="46" name="Shape 3780">
              <a:extLst>
                <a:ext uri="{FF2B5EF4-FFF2-40B4-BE49-F238E27FC236}">
                  <a16:creationId xmlns:a16="http://schemas.microsoft.com/office/drawing/2014/main" xmlns="" id="{C36DC379-E282-4E6B-8D51-3C7F02254A0F}"/>
                </a:ext>
              </a:extLst>
            </p:cNvPr>
            <p:cNvSpPr/>
            <p:nvPr/>
          </p:nvSpPr>
          <p:spPr>
            <a:xfrm>
              <a:off x="6519902" y="7800881"/>
              <a:ext cx="169888" cy="1676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sp>
          <p:nvSpPr>
            <p:cNvPr id="47" name="Shape 3781">
              <a:extLst>
                <a:ext uri="{FF2B5EF4-FFF2-40B4-BE49-F238E27FC236}">
                  <a16:creationId xmlns:a16="http://schemas.microsoft.com/office/drawing/2014/main" xmlns="" id="{794DBB92-69EF-445F-8805-7D185AD647F6}"/>
                </a:ext>
              </a:extLst>
            </p:cNvPr>
            <p:cNvSpPr/>
            <p:nvPr/>
          </p:nvSpPr>
          <p:spPr>
            <a:xfrm>
              <a:off x="6942583" y="7984590"/>
              <a:ext cx="424716" cy="888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38" y="0"/>
                  </a:moveTo>
                  <a:cubicBezTo>
                    <a:pt x="5538" y="0"/>
                    <a:pt x="5538" y="0"/>
                    <a:pt x="5538" y="0"/>
                  </a:cubicBezTo>
                  <a:cubicBezTo>
                    <a:pt x="1662" y="0"/>
                    <a:pt x="0" y="1580"/>
                    <a:pt x="0" y="2107"/>
                  </a:cubicBezTo>
                  <a:cubicBezTo>
                    <a:pt x="0" y="9746"/>
                    <a:pt x="0" y="9746"/>
                    <a:pt x="0" y="9746"/>
                  </a:cubicBezTo>
                  <a:cubicBezTo>
                    <a:pt x="0" y="10141"/>
                    <a:pt x="831" y="10537"/>
                    <a:pt x="1938" y="10537"/>
                  </a:cubicBezTo>
                  <a:cubicBezTo>
                    <a:pt x="3046" y="10537"/>
                    <a:pt x="3600" y="10141"/>
                    <a:pt x="3600" y="9746"/>
                  </a:cubicBezTo>
                  <a:cubicBezTo>
                    <a:pt x="3600" y="3424"/>
                    <a:pt x="3600" y="3424"/>
                    <a:pt x="3600" y="3424"/>
                  </a:cubicBezTo>
                  <a:cubicBezTo>
                    <a:pt x="5262" y="3424"/>
                    <a:pt x="5262" y="3424"/>
                    <a:pt x="5262" y="3424"/>
                  </a:cubicBezTo>
                  <a:cubicBezTo>
                    <a:pt x="5262" y="9483"/>
                    <a:pt x="5262" y="9483"/>
                    <a:pt x="5262" y="9483"/>
                  </a:cubicBezTo>
                  <a:cubicBezTo>
                    <a:pt x="5262" y="9483"/>
                    <a:pt x="5262" y="9615"/>
                    <a:pt x="5262" y="9746"/>
                  </a:cubicBezTo>
                  <a:cubicBezTo>
                    <a:pt x="5262" y="20283"/>
                    <a:pt x="5262" y="20283"/>
                    <a:pt x="5262" y="20283"/>
                  </a:cubicBezTo>
                  <a:cubicBezTo>
                    <a:pt x="5262" y="21073"/>
                    <a:pt x="6369" y="21600"/>
                    <a:pt x="7754" y="21600"/>
                  </a:cubicBezTo>
                  <a:cubicBezTo>
                    <a:pt x="9138" y="21600"/>
                    <a:pt x="10246" y="21073"/>
                    <a:pt x="10246" y="20283"/>
                  </a:cubicBezTo>
                  <a:cubicBezTo>
                    <a:pt x="10246" y="10932"/>
                    <a:pt x="10246" y="10932"/>
                    <a:pt x="10246" y="10932"/>
                  </a:cubicBezTo>
                  <a:cubicBezTo>
                    <a:pt x="11354" y="10932"/>
                    <a:pt x="11354" y="10932"/>
                    <a:pt x="11354" y="10932"/>
                  </a:cubicBezTo>
                  <a:cubicBezTo>
                    <a:pt x="11354" y="20283"/>
                    <a:pt x="11354" y="20283"/>
                    <a:pt x="11354" y="20283"/>
                  </a:cubicBezTo>
                  <a:cubicBezTo>
                    <a:pt x="11354" y="21073"/>
                    <a:pt x="12462" y="21600"/>
                    <a:pt x="13846" y="21600"/>
                  </a:cubicBezTo>
                  <a:cubicBezTo>
                    <a:pt x="15231" y="21600"/>
                    <a:pt x="16338" y="21073"/>
                    <a:pt x="16338" y="20283"/>
                  </a:cubicBezTo>
                  <a:cubicBezTo>
                    <a:pt x="16338" y="3424"/>
                    <a:pt x="16338" y="3424"/>
                    <a:pt x="16338" y="3424"/>
                  </a:cubicBezTo>
                  <a:cubicBezTo>
                    <a:pt x="17723" y="3424"/>
                    <a:pt x="17723" y="3424"/>
                    <a:pt x="17723" y="3424"/>
                  </a:cubicBezTo>
                  <a:cubicBezTo>
                    <a:pt x="17723" y="9746"/>
                    <a:pt x="17723" y="9746"/>
                    <a:pt x="17723" y="9746"/>
                  </a:cubicBezTo>
                  <a:cubicBezTo>
                    <a:pt x="17723" y="10141"/>
                    <a:pt x="18554" y="10537"/>
                    <a:pt x="19662" y="10537"/>
                  </a:cubicBezTo>
                  <a:cubicBezTo>
                    <a:pt x="20769" y="10537"/>
                    <a:pt x="21600" y="10141"/>
                    <a:pt x="21600" y="9746"/>
                  </a:cubicBezTo>
                  <a:cubicBezTo>
                    <a:pt x="21600" y="1976"/>
                    <a:pt x="21600" y="1976"/>
                    <a:pt x="21600" y="1976"/>
                  </a:cubicBezTo>
                  <a:cubicBezTo>
                    <a:pt x="21600" y="1317"/>
                    <a:pt x="19938" y="0"/>
                    <a:pt x="16338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sp>
          <p:nvSpPr>
            <p:cNvPr id="48" name="Shape 3782">
              <a:extLst>
                <a:ext uri="{FF2B5EF4-FFF2-40B4-BE49-F238E27FC236}">
                  <a16:creationId xmlns:a16="http://schemas.microsoft.com/office/drawing/2014/main" xmlns="" id="{4AA1BCAB-5860-4DBD-AFB4-77F750DA5D51}"/>
                </a:ext>
              </a:extLst>
            </p:cNvPr>
            <p:cNvSpPr/>
            <p:nvPr/>
          </p:nvSpPr>
          <p:spPr>
            <a:xfrm>
              <a:off x="7073441" y="7800883"/>
              <a:ext cx="169888" cy="1676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sp>
          <p:nvSpPr>
            <p:cNvPr id="49" name="Shape 3783">
              <a:extLst>
                <a:ext uri="{FF2B5EF4-FFF2-40B4-BE49-F238E27FC236}">
                  <a16:creationId xmlns:a16="http://schemas.microsoft.com/office/drawing/2014/main" xmlns="" id="{7C66063F-B73B-4741-B25E-963C4A7658D1}"/>
                </a:ext>
              </a:extLst>
            </p:cNvPr>
            <p:cNvSpPr/>
            <p:nvPr/>
          </p:nvSpPr>
          <p:spPr>
            <a:xfrm>
              <a:off x="7498214" y="7984592"/>
              <a:ext cx="424716" cy="888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38" y="0"/>
                  </a:moveTo>
                  <a:cubicBezTo>
                    <a:pt x="5538" y="0"/>
                    <a:pt x="5538" y="0"/>
                    <a:pt x="5538" y="0"/>
                  </a:cubicBezTo>
                  <a:cubicBezTo>
                    <a:pt x="1662" y="0"/>
                    <a:pt x="0" y="1580"/>
                    <a:pt x="0" y="2107"/>
                  </a:cubicBezTo>
                  <a:cubicBezTo>
                    <a:pt x="0" y="9746"/>
                    <a:pt x="0" y="9746"/>
                    <a:pt x="0" y="9746"/>
                  </a:cubicBezTo>
                  <a:cubicBezTo>
                    <a:pt x="0" y="10141"/>
                    <a:pt x="831" y="10537"/>
                    <a:pt x="1938" y="10537"/>
                  </a:cubicBezTo>
                  <a:cubicBezTo>
                    <a:pt x="3046" y="10537"/>
                    <a:pt x="3600" y="10141"/>
                    <a:pt x="3600" y="9746"/>
                  </a:cubicBezTo>
                  <a:cubicBezTo>
                    <a:pt x="3600" y="3424"/>
                    <a:pt x="3600" y="3424"/>
                    <a:pt x="3600" y="3424"/>
                  </a:cubicBezTo>
                  <a:cubicBezTo>
                    <a:pt x="5262" y="3424"/>
                    <a:pt x="5262" y="3424"/>
                    <a:pt x="5262" y="3424"/>
                  </a:cubicBezTo>
                  <a:cubicBezTo>
                    <a:pt x="5262" y="9483"/>
                    <a:pt x="5262" y="9483"/>
                    <a:pt x="5262" y="9483"/>
                  </a:cubicBezTo>
                  <a:cubicBezTo>
                    <a:pt x="5262" y="9483"/>
                    <a:pt x="5262" y="9615"/>
                    <a:pt x="5262" y="9746"/>
                  </a:cubicBezTo>
                  <a:cubicBezTo>
                    <a:pt x="5262" y="20283"/>
                    <a:pt x="5262" y="20283"/>
                    <a:pt x="5262" y="20283"/>
                  </a:cubicBezTo>
                  <a:cubicBezTo>
                    <a:pt x="5262" y="21073"/>
                    <a:pt x="6369" y="21600"/>
                    <a:pt x="7754" y="21600"/>
                  </a:cubicBezTo>
                  <a:cubicBezTo>
                    <a:pt x="9138" y="21600"/>
                    <a:pt x="10246" y="21073"/>
                    <a:pt x="10246" y="20283"/>
                  </a:cubicBezTo>
                  <a:cubicBezTo>
                    <a:pt x="10246" y="10932"/>
                    <a:pt x="10246" y="10932"/>
                    <a:pt x="10246" y="10932"/>
                  </a:cubicBezTo>
                  <a:cubicBezTo>
                    <a:pt x="11354" y="10932"/>
                    <a:pt x="11354" y="10932"/>
                    <a:pt x="11354" y="10932"/>
                  </a:cubicBezTo>
                  <a:cubicBezTo>
                    <a:pt x="11354" y="20283"/>
                    <a:pt x="11354" y="20283"/>
                    <a:pt x="11354" y="20283"/>
                  </a:cubicBezTo>
                  <a:cubicBezTo>
                    <a:pt x="11354" y="21073"/>
                    <a:pt x="12462" y="21600"/>
                    <a:pt x="13846" y="21600"/>
                  </a:cubicBezTo>
                  <a:cubicBezTo>
                    <a:pt x="15231" y="21600"/>
                    <a:pt x="16338" y="21073"/>
                    <a:pt x="16338" y="20283"/>
                  </a:cubicBezTo>
                  <a:cubicBezTo>
                    <a:pt x="16338" y="3424"/>
                    <a:pt x="16338" y="3424"/>
                    <a:pt x="16338" y="3424"/>
                  </a:cubicBezTo>
                  <a:cubicBezTo>
                    <a:pt x="17723" y="3424"/>
                    <a:pt x="17723" y="3424"/>
                    <a:pt x="17723" y="3424"/>
                  </a:cubicBezTo>
                  <a:cubicBezTo>
                    <a:pt x="17723" y="9746"/>
                    <a:pt x="17723" y="9746"/>
                    <a:pt x="17723" y="9746"/>
                  </a:cubicBezTo>
                  <a:cubicBezTo>
                    <a:pt x="17723" y="10141"/>
                    <a:pt x="18554" y="10537"/>
                    <a:pt x="19662" y="10537"/>
                  </a:cubicBezTo>
                  <a:cubicBezTo>
                    <a:pt x="20769" y="10537"/>
                    <a:pt x="21600" y="10141"/>
                    <a:pt x="21600" y="9746"/>
                  </a:cubicBezTo>
                  <a:cubicBezTo>
                    <a:pt x="21600" y="1976"/>
                    <a:pt x="21600" y="1976"/>
                    <a:pt x="21600" y="1976"/>
                  </a:cubicBezTo>
                  <a:cubicBezTo>
                    <a:pt x="21600" y="1317"/>
                    <a:pt x="19938" y="0"/>
                    <a:pt x="16338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sp>
          <p:nvSpPr>
            <p:cNvPr id="50" name="Shape 3784">
              <a:extLst>
                <a:ext uri="{FF2B5EF4-FFF2-40B4-BE49-F238E27FC236}">
                  <a16:creationId xmlns:a16="http://schemas.microsoft.com/office/drawing/2014/main" xmlns="" id="{ADAC2577-A2DC-4E01-B59C-60742472EB20}"/>
                </a:ext>
              </a:extLst>
            </p:cNvPr>
            <p:cNvSpPr/>
            <p:nvPr/>
          </p:nvSpPr>
          <p:spPr>
            <a:xfrm>
              <a:off x="7629072" y="7800884"/>
              <a:ext cx="169888" cy="1676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sp>
          <p:nvSpPr>
            <p:cNvPr id="51" name="Shape 3785">
              <a:extLst>
                <a:ext uri="{FF2B5EF4-FFF2-40B4-BE49-F238E27FC236}">
                  <a16:creationId xmlns:a16="http://schemas.microsoft.com/office/drawing/2014/main" xmlns="" id="{DFF33572-41A7-4769-A54C-D78F29F51F66}"/>
                </a:ext>
              </a:extLst>
            </p:cNvPr>
            <p:cNvSpPr/>
            <p:nvPr/>
          </p:nvSpPr>
          <p:spPr>
            <a:xfrm>
              <a:off x="8051753" y="7984593"/>
              <a:ext cx="424716" cy="888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38" y="0"/>
                  </a:moveTo>
                  <a:cubicBezTo>
                    <a:pt x="5538" y="0"/>
                    <a:pt x="5538" y="0"/>
                    <a:pt x="5538" y="0"/>
                  </a:cubicBezTo>
                  <a:cubicBezTo>
                    <a:pt x="1662" y="0"/>
                    <a:pt x="0" y="1580"/>
                    <a:pt x="0" y="2107"/>
                  </a:cubicBezTo>
                  <a:cubicBezTo>
                    <a:pt x="0" y="9746"/>
                    <a:pt x="0" y="9746"/>
                    <a:pt x="0" y="9746"/>
                  </a:cubicBezTo>
                  <a:cubicBezTo>
                    <a:pt x="0" y="10141"/>
                    <a:pt x="831" y="10537"/>
                    <a:pt x="1938" y="10537"/>
                  </a:cubicBezTo>
                  <a:cubicBezTo>
                    <a:pt x="3046" y="10537"/>
                    <a:pt x="3600" y="10141"/>
                    <a:pt x="3600" y="9746"/>
                  </a:cubicBezTo>
                  <a:cubicBezTo>
                    <a:pt x="3600" y="3424"/>
                    <a:pt x="3600" y="3424"/>
                    <a:pt x="3600" y="3424"/>
                  </a:cubicBezTo>
                  <a:cubicBezTo>
                    <a:pt x="5262" y="3424"/>
                    <a:pt x="5262" y="3424"/>
                    <a:pt x="5262" y="3424"/>
                  </a:cubicBezTo>
                  <a:cubicBezTo>
                    <a:pt x="5262" y="9483"/>
                    <a:pt x="5262" y="9483"/>
                    <a:pt x="5262" y="9483"/>
                  </a:cubicBezTo>
                  <a:cubicBezTo>
                    <a:pt x="5262" y="9483"/>
                    <a:pt x="5262" y="9615"/>
                    <a:pt x="5262" y="9746"/>
                  </a:cubicBezTo>
                  <a:cubicBezTo>
                    <a:pt x="5262" y="20283"/>
                    <a:pt x="5262" y="20283"/>
                    <a:pt x="5262" y="20283"/>
                  </a:cubicBezTo>
                  <a:cubicBezTo>
                    <a:pt x="5262" y="21073"/>
                    <a:pt x="6369" y="21600"/>
                    <a:pt x="7754" y="21600"/>
                  </a:cubicBezTo>
                  <a:cubicBezTo>
                    <a:pt x="9138" y="21600"/>
                    <a:pt x="10246" y="21073"/>
                    <a:pt x="10246" y="20283"/>
                  </a:cubicBezTo>
                  <a:cubicBezTo>
                    <a:pt x="10246" y="10932"/>
                    <a:pt x="10246" y="10932"/>
                    <a:pt x="10246" y="10932"/>
                  </a:cubicBezTo>
                  <a:cubicBezTo>
                    <a:pt x="11354" y="10932"/>
                    <a:pt x="11354" y="10932"/>
                    <a:pt x="11354" y="10932"/>
                  </a:cubicBezTo>
                  <a:cubicBezTo>
                    <a:pt x="11354" y="20283"/>
                    <a:pt x="11354" y="20283"/>
                    <a:pt x="11354" y="20283"/>
                  </a:cubicBezTo>
                  <a:cubicBezTo>
                    <a:pt x="11354" y="21073"/>
                    <a:pt x="12462" y="21600"/>
                    <a:pt x="13846" y="21600"/>
                  </a:cubicBezTo>
                  <a:cubicBezTo>
                    <a:pt x="15231" y="21600"/>
                    <a:pt x="16338" y="21073"/>
                    <a:pt x="16338" y="20283"/>
                  </a:cubicBezTo>
                  <a:cubicBezTo>
                    <a:pt x="16338" y="3424"/>
                    <a:pt x="16338" y="3424"/>
                    <a:pt x="16338" y="3424"/>
                  </a:cubicBezTo>
                  <a:cubicBezTo>
                    <a:pt x="17723" y="3424"/>
                    <a:pt x="17723" y="3424"/>
                    <a:pt x="17723" y="3424"/>
                  </a:cubicBezTo>
                  <a:cubicBezTo>
                    <a:pt x="17723" y="9746"/>
                    <a:pt x="17723" y="9746"/>
                    <a:pt x="17723" y="9746"/>
                  </a:cubicBezTo>
                  <a:cubicBezTo>
                    <a:pt x="17723" y="10141"/>
                    <a:pt x="18554" y="10537"/>
                    <a:pt x="19662" y="10537"/>
                  </a:cubicBezTo>
                  <a:cubicBezTo>
                    <a:pt x="20769" y="10537"/>
                    <a:pt x="21600" y="10141"/>
                    <a:pt x="21600" y="9746"/>
                  </a:cubicBezTo>
                  <a:cubicBezTo>
                    <a:pt x="21600" y="1976"/>
                    <a:pt x="21600" y="1976"/>
                    <a:pt x="21600" y="1976"/>
                  </a:cubicBezTo>
                  <a:cubicBezTo>
                    <a:pt x="21600" y="1317"/>
                    <a:pt x="19938" y="0"/>
                    <a:pt x="16338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sp>
          <p:nvSpPr>
            <p:cNvPr id="52" name="Shape 3786">
              <a:extLst>
                <a:ext uri="{FF2B5EF4-FFF2-40B4-BE49-F238E27FC236}">
                  <a16:creationId xmlns:a16="http://schemas.microsoft.com/office/drawing/2014/main" xmlns="" id="{2C043639-16F2-4CD6-B442-15A4825A9502}"/>
                </a:ext>
              </a:extLst>
            </p:cNvPr>
            <p:cNvSpPr/>
            <p:nvPr/>
          </p:nvSpPr>
          <p:spPr>
            <a:xfrm>
              <a:off x="8182613" y="7800886"/>
              <a:ext cx="169888" cy="1676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grpSp>
          <p:nvGrpSpPr>
            <p:cNvPr id="53" name="Group 3840">
              <a:extLst>
                <a:ext uri="{FF2B5EF4-FFF2-40B4-BE49-F238E27FC236}">
                  <a16:creationId xmlns:a16="http://schemas.microsoft.com/office/drawing/2014/main" xmlns="" id="{345A3D23-EB23-4ECD-A7CA-BC0618A0C97F}"/>
                </a:ext>
              </a:extLst>
            </p:cNvPr>
            <p:cNvGrpSpPr/>
            <p:nvPr/>
          </p:nvGrpSpPr>
          <p:grpSpPr>
            <a:xfrm>
              <a:off x="8610923" y="7805615"/>
              <a:ext cx="424716" cy="1072408"/>
              <a:chOff x="0" y="0"/>
              <a:chExt cx="590244" cy="1489964"/>
            </a:xfrm>
            <a:grpFill/>
          </p:grpSpPr>
          <p:sp>
            <p:nvSpPr>
              <p:cNvPr id="69" name="Shape 3838">
                <a:extLst>
                  <a:ext uri="{FF2B5EF4-FFF2-40B4-BE49-F238E27FC236}">
                    <a16:creationId xmlns:a16="http://schemas.microsoft.com/office/drawing/2014/main" xmlns="" id="{4AECF9C0-C1BF-440F-B58C-3D2D1F99428A}"/>
                  </a:ext>
                </a:extLst>
              </p:cNvPr>
              <p:cNvSpPr/>
              <p:nvPr/>
            </p:nvSpPr>
            <p:spPr>
              <a:xfrm>
                <a:off x="0" y="255240"/>
                <a:ext cx="590245" cy="123472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338" y="0"/>
                    </a:moveTo>
                    <a:cubicBezTo>
                      <a:pt x="5538" y="0"/>
                      <a:pt x="5538" y="0"/>
                      <a:pt x="5538" y="0"/>
                    </a:cubicBezTo>
                    <a:cubicBezTo>
                      <a:pt x="1662" y="0"/>
                      <a:pt x="0" y="1580"/>
                      <a:pt x="0" y="2107"/>
                    </a:cubicBezTo>
                    <a:cubicBezTo>
                      <a:pt x="0" y="9746"/>
                      <a:pt x="0" y="9746"/>
                      <a:pt x="0" y="9746"/>
                    </a:cubicBezTo>
                    <a:cubicBezTo>
                      <a:pt x="0" y="10141"/>
                      <a:pt x="831" y="10537"/>
                      <a:pt x="1938" y="10537"/>
                    </a:cubicBezTo>
                    <a:cubicBezTo>
                      <a:pt x="3046" y="10537"/>
                      <a:pt x="3600" y="10141"/>
                      <a:pt x="3600" y="9746"/>
                    </a:cubicBezTo>
                    <a:cubicBezTo>
                      <a:pt x="3600" y="3424"/>
                      <a:pt x="3600" y="3424"/>
                      <a:pt x="3600" y="3424"/>
                    </a:cubicBezTo>
                    <a:cubicBezTo>
                      <a:pt x="5262" y="3424"/>
                      <a:pt x="5262" y="3424"/>
                      <a:pt x="5262" y="3424"/>
                    </a:cubicBezTo>
                    <a:cubicBezTo>
                      <a:pt x="5262" y="9483"/>
                      <a:pt x="5262" y="9483"/>
                      <a:pt x="5262" y="9483"/>
                    </a:cubicBezTo>
                    <a:cubicBezTo>
                      <a:pt x="5262" y="9483"/>
                      <a:pt x="5262" y="9615"/>
                      <a:pt x="5262" y="9746"/>
                    </a:cubicBezTo>
                    <a:cubicBezTo>
                      <a:pt x="5262" y="20283"/>
                      <a:pt x="5262" y="20283"/>
                      <a:pt x="5262" y="20283"/>
                    </a:cubicBezTo>
                    <a:cubicBezTo>
                      <a:pt x="5262" y="21073"/>
                      <a:pt x="6369" y="21600"/>
                      <a:pt x="7754" y="21600"/>
                    </a:cubicBezTo>
                    <a:cubicBezTo>
                      <a:pt x="9138" y="21600"/>
                      <a:pt x="10246" y="21073"/>
                      <a:pt x="10246" y="20283"/>
                    </a:cubicBezTo>
                    <a:cubicBezTo>
                      <a:pt x="10246" y="10932"/>
                      <a:pt x="10246" y="10932"/>
                      <a:pt x="10246" y="10932"/>
                    </a:cubicBezTo>
                    <a:cubicBezTo>
                      <a:pt x="11354" y="10932"/>
                      <a:pt x="11354" y="10932"/>
                      <a:pt x="11354" y="10932"/>
                    </a:cubicBezTo>
                    <a:cubicBezTo>
                      <a:pt x="11354" y="20283"/>
                      <a:pt x="11354" y="20283"/>
                      <a:pt x="11354" y="20283"/>
                    </a:cubicBezTo>
                    <a:cubicBezTo>
                      <a:pt x="11354" y="21073"/>
                      <a:pt x="12462" y="21600"/>
                      <a:pt x="13846" y="21600"/>
                    </a:cubicBezTo>
                    <a:cubicBezTo>
                      <a:pt x="15231" y="21600"/>
                      <a:pt x="16338" y="21073"/>
                      <a:pt x="16338" y="20283"/>
                    </a:cubicBezTo>
                    <a:cubicBezTo>
                      <a:pt x="16338" y="3424"/>
                      <a:pt x="16338" y="3424"/>
                      <a:pt x="16338" y="3424"/>
                    </a:cubicBezTo>
                    <a:cubicBezTo>
                      <a:pt x="17723" y="3424"/>
                      <a:pt x="17723" y="3424"/>
                      <a:pt x="17723" y="3424"/>
                    </a:cubicBezTo>
                    <a:cubicBezTo>
                      <a:pt x="17723" y="9746"/>
                      <a:pt x="17723" y="9746"/>
                      <a:pt x="17723" y="9746"/>
                    </a:cubicBezTo>
                    <a:cubicBezTo>
                      <a:pt x="17723" y="10141"/>
                      <a:pt x="18554" y="10537"/>
                      <a:pt x="19662" y="10537"/>
                    </a:cubicBezTo>
                    <a:cubicBezTo>
                      <a:pt x="20769" y="10537"/>
                      <a:pt x="21600" y="10141"/>
                      <a:pt x="21600" y="9746"/>
                    </a:cubicBezTo>
                    <a:cubicBezTo>
                      <a:pt x="21600" y="1976"/>
                      <a:pt x="21600" y="1976"/>
                      <a:pt x="21600" y="1976"/>
                    </a:cubicBezTo>
                    <a:cubicBezTo>
                      <a:pt x="21600" y="1317"/>
                      <a:pt x="19938" y="0"/>
                      <a:pt x="16338" y="0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  <p:sp>
            <p:nvSpPr>
              <p:cNvPr id="70" name="Shape 3839">
                <a:extLst>
                  <a:ext uri="{FF2B5EF4-FFF2-40B4-BE49-F238E27FC236}">
                    <a16:creationId xmlns:a16="http://schemas.microsoft.com/office/drawing/2014/main" xmlns="" id="{765310C6-7293-471E-90E1-B094B88ACEA1}"/>
                  </a:ext>
                </a:extLst>
              </p:cNvPr>
              <p:cNvSpPr/>
              <p:nvPr/>
            </p:nvSpPr>
            <p:spPr>
              <a:xfrm>
                <a:off x="181859" y="0"/>
                <a:ext cx="236100" cy="2329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</p:grpSp>
        <p:grpSp>
          <p:nvGrpSpPr>
            <p:cNvPr id="54" name="Group 3843">
              <a:extLst>
                <a:ext uri="{FF2B5EF4-FFF2-40B4-BE49-F238E27FC236}">
                  <a16:creationId xmlns:a16="http://schemas.microsoft.com/office/drawing/2014/main" xmlns="" id="{96B518F4-ADF1-4C86-B6AF-9A8A024CF397}"/>
                </a:ext>
              </a:extLst>
            </p:cNvPr>
            <p:cNvGrpSpPr/>
            <p:nvPr/>
          </p:nvGrpSpPr>
          <p:grpSpPr>
            <a:xfrm>
              <a:off x="9164461" y="7805615"/>
              <a:ext cx="424716" cy="1072408"/>
              <a:chOff x="0" y="0"/>
              <a:chExt cx="590244" cy="1489964"/>
            </a:xfrm>
            <a:grpFill/>
          </p:grpSpPr>
          <p:sp>
            <p:nvSpPr>
              <p:cNvPr id="67" name="Shape 3841">
                <a:extLst>
                  <a:ext uri="{FF2B5EF4-FFF2-40B4-BE49-F238E27FC236}">
                    <a16:creationId xmlns:a16="http://schemas.microsoft.com/office/drawing/2014/main" xmlns="" id="{EF20F670-86AC-411B-9074-B98EDE1F8F0B}"/>
                  </a:ext>
                </a:extLst>
              </p:cNvPr>
              <p:cNvSpPr/>
              <p:nvPr/>
            </p:nvSpPr>
            <p:spPr>
              <a:xfrm>
                <a:off x="0" y="255240"/>
                <a:ext cx="590245" cy="123472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338" y="0"/>
                    </a:moveTo>
                    <a:cubicBezTo>
                      <a:pt x="5538" y="0"/>
                      <a:pt x="5538" y="0"/>
                      <a:pt x="5538" y="0"/>
                    </a:cubicBezTo>
                    <a:cubicBezTo>
                      <a:pt x="1662" y="0"/>
                      <a:pt x="0" y="1580"/>
                      <a:pt x="0" y="2107"/>
                    </a:cubicBezTo>
                    <a:cubicBezTo>
                      <a:pt x="0" y="9746"/>
                      <a:pt x="0" y="9746"/>
                      <a:pt x="0" y="9746"/>
                    </a:cubicBezTo>
                    <a:cubicBezTo>
                      <a:pt x="0" y="10141"/>
                      <a:pt x="831" y="10537"/>
                      <a:pt x="1938" y="10537"/>
                    </a:cubicBezTo>
                    <a:cubicBezTo>
                      <a:pt x="3046" y="10537"/>
                      <a:pt x="3600" y="10141"/>
                      <a:pt x="3600" y="9746"/>
                    </a:cubicBezTo>
                    <a:cubicBezTo>
                      <a:pt x="3600" y="3424"/>
                      <a:pt x="3600" y="3424"/>
                      <a:pt x="3600" y="3424"/>
                    </a:cubicBezTo>
                    <a:cubicBezTo>
                      <a:pt x="5262" y="3424"/>
                      <a:pt x="5262" y="3424"/>
                      <a:pt x="5262" y="3424"/>
                    </a:cubicBezTo>
                    <a:cubicBezTo>
                      <a:pt x="5262" y="9483"/>
                      <a:pt x="5262" y="9483"/>
                      <a:pt x="5262" y="9483"/>
                    </a:cubicBezTo>
                    <a:cubicBezTo>
                      <a:pt x="5262" y="9483"/>
                      <a:pt x="5262" y="9615"/>
                      <a:pt x="5262" y="9746"/>
                    </a:cubicBezTo>
                    <a:cubicBezTo>
                      <a:pt x="5262" y="20283"/>
                      <a:pt x="5262" y="20283"/>
                      <a:pt x="5262" y="20283"/>
                    </a:cubicBezTo>
                    <a:cubicBezTo>
                      <a:pt x="5262" y="21073"/>
                      <a:pt x="6369" y="21600"/>
                      <a:pt x="7754" y="21600"/>
                    </a:cubicBezTo>
                    <a:cubicBezTo>
                      <a:pt x="9138" y="21600"/>
                      <a:pt x="10246" y="21073"/>
                      <a:pt x="10246" y="20283"/>
                    </a:cubicBezTo>
                    <a:cubicBezTo>
                      <a:pt x="10246" y="10932"/>
                      <a:pt x="10246" y="10932"/>
                      <a:pt x="10246" y="10932"/>
                    </a:cubicBezTo>
                    <a:cubicBezTo>
                      <a:pt x="11354" y="10932"/>
                      <a:pt x="11354" y="10932"/>
                      <a:pt x="11354" y="10932"/>
                    </a:cubicBezTo>
                    <a:cubicBezTo>
                      <a:pt x="11354" y="20283"/>
                      <a:pt x="11354" y="20283"/>
                      <a:pt x="11354" y="20283"/>
                    </a:cubicBezTo>
                    <a:cubicBezTo>
                      <a:pt x="11354" y="21073"/>
                      <a:pt x="12462" y="21600"/>
                      <a:pt x="13846" y="21600"/>
                    </a:cubicBezTo>
                    <a:cubicBezTo>
                      <a:pt x="15231" y="21600"/>
                      <a:pt x="16338" y="21073"/>
                      <a:pt x="16338" y="20283"/>
                    </a:cubicBezTo>
                    <a:cubicBezTo>
                      <a:pt x="16338" y="3424"/>
                      <a:pt x="16338" y="3424"/>
                      <a:pt x="16338" y="3424"/>
                    </a:cubicBezTo>
                    <a:cubicBezTo>
                      <a:pt x="17723" y="3424"/>
                      <a:pt x="17723" y="3424"/>
                      <a:pt x="17723" y="3424"/>
                    </a:cubicBezTo>
                    <a:cubicBezTo>
                      <a:pt x="17723" y="9746"/>
                      <a:pt x="17723" y="9746"/>
                      <a:pt x="17723" y="9746"/>
                    </a:cubicBezTo>
                    <a:cubicBezTo>
                      <a:pt x="17723" y="10141"/>
                      <a:pt x="18554" y="10537"/>
                      <a:pt x="19662" y="10537"/>
                    </a:cubicBezTo>
                    <a:cubicBezTo>
                      <a:pt x="20769" y="10537"/>
                      <a:pt x="21600" y="10141"/>
                      <a:pt x="21600" y="9746"/>
                    </a:cubicBezTo>
                    <a:cubicBezTo>
                      <a:pt x="21600" y="1976"/>
                      <a:pt x="21600" y="1976"/>
                      <a:pt x="21600" y="1976"/>
                    </a:cubicBezTo>
                    <a:cubicBezTo>
                      <a:pt x="21600" y="1317"/>
                      <a:pt x="19938" y="0"/>
                      <a:pt x="16338" y="0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  <p:sp>
            <p:nvSpPr>
              <p:cNvPr id="68" name="Shape 3842">
                <a:extLst>
                  <a:ext uri="{FF2B5EF4-FFF2-40B4-BE49-F238E27FC236}">
                    <a16:creationId xmlns:a16="http://schemas.microsoft.com/office/drawing/2014/main" xmlns="" id="{71209F61-5226-4372-ADF7-5C65CE835678}"/>
                  </a:ext>
                </a:extLst>
              </p:cNvPr>
              <p:cNvSpPr/>
              <p:nvPr/>
            </p:nvSpPr>
            <p:spPr>
              <a:xfrm>
                <a:off x="181859" y="0"/>
                <a:ext cx="236100" cy="2329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</p:grpSp>
        <p:grpSp>
          <p:nvGrpSpPr>
            <p:cNvPr id="55" name="Group 3864">
              <a:extLst>
                <a:ext uri="{FF2B5EF4-FFF2-40B4-BE49-F238E27FC236}">
                  <a16:creationId xmlns:a16="http://schemas.microsoft.com/office/drawing/2014/main" xmlns="" id="{7CFFF94C-6105-4247-B9C2-182BF3FFDBAE}"/>
                </a:ext>
              </a:extLst>
            </p:cNvPr>
            <p:cNvGrpSpPr/>
            <p:nvPr/>
          </p:nvGrpSpPr>
          <p:grpSpPr>
            <a:xfrm>
              <a:off x="6390598" y="7805615"/>
              <a:ext cx="424716" cy="1072408"/>
              <a:chOff x="0" y="0"/>
              <a:chExt cx="590244" cy="1489964"/>
            </a:xfrm>
            <a:grpFill/>
          </p:grpSpPr>
          <p:sp>
            <p:nvSpPr>
              <p:cNvPr id="65" name="Shape 3862">
                <a:extLst>
                  <a:ext uri="{FF2B5EF4-FFF2-40B4-BE49-F238E27FC236}">
                    <a16:creationId xmlns:a16="http://schemas.microsoft.com/office/drawing/2014/main" xmlns="" id="{596A01F4-3F40-4FFC-BD3D-6AEE6629B86D}"/>
                  </a:ext>
                </a:extLst>
              </p:cNvPr>
              <p:cNvSpPr/>
              <p:nvPr/>
            </p:nvSpPr>
            <p:spPr>
              <a:xfrm>
                <a:off x="0" y="255240"/>
                <a:ext cx="590245" cy="123472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338" y="0"/>
                    </a:moveTo>
                    <a:cubicBezTo>
                      <a:pt x="5538" y="0"/>
                      <a:pt x="5538" y="0"/>
                      <a:pt x="5538" y="0"/>
                    </a:cubicBezTo>
                    <a:cubicBezTo>
                      <a:pt x="1662" y="0"/>
                      <a:pt x="0" y="1580"/>
                      <a:pt x="0" y="2107"/>
                    </a:cubicBezTo>
                    <a:cubicBezTo>
                      <a:pt x="0" y="9746"/>
                      <a:pt x="0" y="9746"/>
                      <a:pt x="0" y="9746"/>
                    </a:cubicBezTo>
                    <a:cubicBezTo>
                      <a:pt x="0" y="10141"/>
                      <a:pt x="831" y="10537"/>
                      <a:pt x="1938" y="10537"/>
                    </a:cubicBezTo>
                    <a:cubicBezTo>
                      <a:pt x="3046" y="10537"/>
                      <a:pt x="3600" y="10141"/>
                      <a:pt x="3600" y="9746"/>
                    </a:cubicBezTo>
                    <a:cubicBezTo>
                      <a:pt x="3600" y="3424"/>
                      <a:pt x="3600" y="3424"/>
                      <a:pt x="3600" y="3424"/>
                    </a:cubicBezTo>
                    <a:cubicBezTo>
                      <a:pt x="5262" y="3424"/>
                      <a:pt x="5262" y="3424"/>
                      <a:pt x="5262" y="3424"/>
                    </a:cubicBezTo>
                    <a:cubicBezTo>
                      <a:pt x="5262" y="9483"/>
                      <a:pt x="5262" y="9483"/>
                      <a:pt x="5262" y="9483"/>
                    </a:cubicBezTo>
                    <a:cubicBezTo>
                      <a:pt x="5262" y="9483"/>
                      <a:pt x="5262" y="9615"/>
                      <a:pt x="5262" y="9746"/>
                    </a:cubicBezTo>
                    <a:cubicBezTo>
                      <a:pt x="5262" y="20283"/>
                      <a:pt x="5262" y="20283"/>
                      <a:pt x="5262" y="20283"/>
                    </a:cubicBezTo>
                    <a:cubicBezTo>
                      <a:pt x="5262" y="21073"/>
                      <a:pt x="6369" y="21600"/>
                      <a:pt x="7754" y="21600"/>
                    </a:cubicBezTo>
                    <a:cubicBezTo>
                      <a:pt x="9138" y="21600"/>
                      <a:pt x="10246" y="21073"/>
                      <a:pt x="10246" y="20283"/>
                    </a:cubicBezTo>
                    <a:cubicBezTo>
                      <a:pt x="10246" y="10932"/>
                      <a:pt x="10246" y="10932"/>
                      <a:pt x="10246" y="10932"/>
                    </a:cubicBezTo>
                    <a:cubicBezTo>
                      <a:pt x="11354" y="10932"/>
                      <a:pt x="11354" y="10932"/>
                      <a:pt x="11354" y="10932"/>
                    </a:cubicBezTo>
                    <a:cubicBezTo>
                      <a:pt x="11354" y="20283"/>
                      <a:pt x="11354" y="20283"/>
                      <a:pt x="11354" y="20283"/>
                    </a:cubicBezTo>
                    <a:cubicBezTo>
                      <a:pt x="11354" y="21073"/>
                      <a:pt x="12462" y="21600"/>
                      <a:pt x="13846" y="21600"/>
                    </a:cubicBezTo>
                    <a:cubicBezTo>
                      <a:pt x="15231" y="21600"/>
                      <a:pt x="16338" y="21073"/>
                      <a:pt x="16338" y="20283"/>
                    </a:cubicBezTo>
                    <a:cubicBezTo>
                      <a:pt x="16338" y="3424"/>
                      <a:pt x="16338" y="3424"/>
                      <a:pt x="16338" y="3424"/>
                    </a:cubicBezTo>
                    <a:cubicBezTo>
                      <a:pt x="17723" y="3424"/>
                      <a:pt x="17723" y="3424"/>
                      <a:pt x="17723" y="3424"/>
                    </a:cubicBezTo>
                    <a:cubicBezTo>
                      <a:pt x="17723" y="9746"/>
                      <a:pt x="17723" y="9746"/>
                      <a:pt x="17723" y="9746"/>
                    </a:cubicBezTo>
                    <a:cubicBezTo>
                      <a:pt x="17723" y="10141"/>
                      <a:pt x="18554" y="10537"/>
                      <a:pt x="19662" y="10537"/>
                    </a:cubicBezTo>
                    <a:cubicBezTo>
                      <a:pt x="20769" y="10537"/>
                      <a:pt x="21600" y="10141"/>
                      <a:pt x="21600" y="9746"/>
                    </a:cubicBezTo>
                    <a:cubicBezTo>
                      <a:pt x="21600" y="1976"/>
                      <a:pt x="21600" y="1976"/>
                      <a:pt x="21600" y="1976"/>
                    </a:cubicBezTo>
                    <a:cubicBezTo>
                      <a:pt x="21600" y="1317"/>
                      <a:pt x="19938" y="0"/>
                      <a:pt x="16338" y="0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  <p:sp>
            <p:nvSpPr>
              <p:cNvPr id="66" name="Shape 3863">
                <a:extLst>
                  <a:ext uri="{FF2B5EF4-FFF2-40B4-BE49-F238E27FC236}">
                    <a16:creationId xmlns:a16="http://schemas.microsoft.com/office/drawing/2014/main" xmlns="" id="{D5C62739-7E7E-4095-A0FA-4ECC477F1060}"/>
                  </a:ext>
                </a:extLst>
              </p:cNvPr>
              <p:cNvSpPr/>
              <p:nvPr/>
            </p:nvSpPr>
            <p:spPr>
              <a:xfrm>
                <a:off x="181859" y="0"/>
                <a:ext cx="236100" cy="2329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</p:grpSp>
        <p:grpSp>
          <p:nvGrpSpPr>
            <p:cNvPr id="56" name="Group 3867">
              <a:extLst>
                <a:ext uri="{FF2B5EF4-FFF2-40B4-BE49-F238E27FC236}">
                  <a16:creationId xmlns:a16="http://schemas.microsoft.com/office/drawing/2014/main" xmlns="" id="{C002557A-CE16-40D7-81F6-3FC1AD9F9CDC}"/>
                </a:ext>
              </a:extLst>
            </p:cNvPr>
            <p:cNvGrpSpPr/>
            <p:nvPr/>
          </p:nvGrpSpPr>
          <p:grpSpPr>
            <a:xfrm>
              <a:off x="6944137" y="7805615"/>
              <a:ext cx="424716" cy="1072408"/>
              <a:chOff x="0" y="0"/>
              <a:chExt cx="590244" cy="1489964"/>
            </a:xfrm>
            <a:grpFill/>
          </p:grpSpPr>
          <p:sp>
            <p:nvSpPr>
              <p:cNvPr id="63" name="Shape 3865">
                <a:extLst>
                  <a:ext uri="{FF2B5EF4-FFF2-40B4-BE49-F238E27FC236}">
                    <a16:creationId xmlns:a16="http://schemas.microsoft.com/office/drawing/2014/main" xmlns="" id="{0C10662F-7172-4AD8-9B4E-E1FAE74F30EA}"/>
                  </a:ext>
                </a:extLst>
              </p:cNvPr>
              <p:cNvSpPr/>
              <p:nvPr/>
            </p:nvSpPr>
            <p:spPr>
              <a:xfrm>
                <a:off x="0" y="255240"/>
                <a:ext cx="590245" cy="123472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338" y="0"/>
                    </a:moveTo>
                    <a:cubicBezTo>
                      <a:pt x="5538" y="0"/>
                      <a:pt x="5538" y="0"/>
                      <a:pt x="5538" y="0"/>
                    </a:cubicBezTo>
                    <a:cubicBezTo>
                      <a:pt x="1662" y="0"/>
                      <a:pt x="0" y="1580"/>
                      <a:pt x="0" y="2107"/>
                    </a:cubicBezTo>
                    <a:cubicBezTo>
                      <a:pt x="0" y="9746"/>
                      <a:pt x="0" y="9746"/>
                      <a:pt x="0" y="9746"/>
                    </a:cubicBezTo>
                    <a:cubicBezTo>
                      <a:pt x="0" y="10141"/>
                      <a:pt x="831" y="10537"/>
                      <a:pt x="1938" y="10537"/>
                    </a:cubicBezTo>
                    <a:cubicBezTo>
                      <a:pt x="3046" y="10537"/>
                      <a:pt x="3600" y="10141"/>
                      <a:pt x="3600" y="9746"/>
                    </a:cubicBezTo>
                    <a:cubicBezTo>
                      <a:pt x="3600" y="3424"/>
                      <a:pt x="3600" y="3424"/>
                      <a:pt x="3600" y="3424"/>
                    </a:cubicBezTo>
                    <a:cubicBezTo>
                      <a:pt x="5262" y="3424"/>
                      <a:pt x="5262" y="3424"/>
                      <a:pt x="5262" y="3424"/>
                    </a:cubicBezTo>
                    <a:cubicBezTo>
                      <a:pt x="5262" y="9483"/>
                      <a:pt x="5262" y="9483"/>
                      <a:pt x="5262" y="9483"/>
                    </a:cubicBezTo>
                    <a:cubicBezTo>
                      <a:pt x="5262" y="9483"/>
                      <a:pt x="5262" y="9615"/>
                      <a:pt x="5262" y="9746"/>
                    </a:cubicBezTo>
                    <a:cubicBezTo>
                      <a:pt x="5262" y="20283"/>
                      <a:pt x="5262" y="20283"/>
                      <a:pt x="5262" y="20283"/>
                    </a:cubicBezTo>
                    <a:cubicBezTo>
                      <a:pt x="5262" y="21073"/>
                      <a:pt x="6369" y="21600"/>
                      <a:pt x="7754" y="21600"/>
                    </a:cubicBezTo>
                    <a:cubicBezTo>
                      <a:pt x="9138" y="21600"/>
                      <a:pt x="10246" y="21073"/>
                      <a:pt x="10246" y="20283"/>
                    </a:cubicBezTo>
                    <a:cubicBezTo>
                      <a:pt x="10246" y="10932"/>
                      <a:pt x="10246" y="10932"/>
                      <a:pt x="10246" y="10932"/>
                    </a:cubicBezTo>
                    <a:cubicBezTo>
                      <a:pt x="11354" y="10932"/>
                      <a:pt x="11354" y="10932"/>
                      <a:pt x="11354" y="10932"/>
                    </a:cubicBezTo>
                    <a:cubicBezTo>
                      <a:pt x="11354" y="20283"/>
                      <a:pt x="11354" y="20283"/>
                      <a:pt x="11354" y="20283"/>
                    </a:cubicBezTo>
                    <a:cubicBezTo>
                      <a:pt x="11354" y="21073"/>
                      <a:pt x="12462" y="21600"/>
                      <a:pt x="13846" y="21600"/>
                    </a:cubicBezTo>
                    <a:cubicBezTo>
                      <a:pt x="15231" y="21600"/>
                      <a:pt x="16338" y="21073"/>
                      <a:pt x="16338" y="20283"/>
                    </a:cubicBezTo>
                    <a:cubicBezTo>
                      <a:pt x="16338" y="3424"/>
                      <a:pt x="16338" y="3424"/>
                      <a:pt x="16338" y="3424"/>
                    </a:cubicBezTo>
                    <a:cubicBezTo>
                      <a:pt x="17723" y="3424"/>
                      <a:pt x="17723" y="3424"/>
                      <a:pt x="17723" y="3424"/>
                    </a:cubicBezTo>
                    <a:cubicBezTo>
                      <a:pt x="17723" y="9746"/>
                      <a:pt x="17723" y="9746"/>
                      <a:pt x="17723" y="9746"/>
                    </a:cubicBezTo>
                    <a:cubicBezTo>
                      <a:pt x="17723" y="10141"/>
                      <a:pt x="18554" y="10537"/>
                      <a:pt x="19662" y="10537"/>
                    </a:cubicBezTo>
                    <a:cubicBezTo>
                      <a:pt x="20769" y="10537"/>
                      <a:pt x="21600" y="10141"/>
                      <a:pt x="21600" y="9746"/>
                    </a:cubicBezTo>
                    <a:cubicBezTo>
                      <a:pt x="21600" y="1976"/>
                      <a:pt x="21600" y="1976"/>
                      <a:pt x="21600" y="1976"/>
                    </a:cubicBezTo>
                    <a:cubicBezTo>
                      <a:pt x="21600" y="1317"/>
                      <a:pt x="19938" y="0"/>
                      <a:pt x="16338" y="0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  <p:sp>
            <p:nvSpPr>
              <p:cNvPr id="64" name="Shape 3866">
                <a:extLst>
                  <a:ext uri="{FF2B5EF4-FFF2-40B4-BE49-F238E27FC236}">
                    <a16:creationId xmlns:a16="http://schemas.microsoft.com/office/drawing/2014/main" xmlns="" id="{EE07B82C-BB87-4B83-9355-D2533D5AB41A}"/>
                  </a:ext>
                </a:extLst>
              </p:cNvPr>
              <p:cNvSpPr/>
              <p:nvPr/>
            </p:nvSpPr>
            <p:spPr>
              <a:xfrm>
                <a:off x="181859" y="0"/>
                <a:ext cx="236100" cy="2329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</p:grpSp>
        <p:grpSp>
          <p:nvGrpSpPr>
            <p:cNvPr id="57" name="Group 3870">
              <a:extLst>
                <a:ext uri="{FF2B5EF4-FFF2-40B4-BE49-F238E27FC236}">
                  <a16:creationId xmlns:a16="http://schemas.microsoft.com/office/drawing/2014/main" xmlns="" id="{51AB5EA6-E3A7-4CE6-BE99-AF502D8A96B3}"/>
                </a:ext>
              </a:extLst>
            </p:cNvPr>
            <p:cNvGrpSpPr/>
            <p:nvPr/>
          </p:nvGrpSpPr>
          <p:grpSpPr>
            <a:xfrm>
              <a:off x="7499767" y="7805615"/>
              <a:ext cx="424717" cy="1072408"/>
              <a:chOff x="0" y="0"/>
              <a:chExt cx="590244" cy="1489964"/>
            </a:xfrm>
            <a:grpFill/>
          </p:grpSpPr>
          <p:sp>
            <p:nvSpPr>
              <p:cNvPr id="61" name="Shape 3868">
                <a:extLst>
                  <a:ext uri="{FF2B5EF4-FFF2-40B4-BE49-F238E27FC236}">
                    <a16:creationId xmlns:a16="http://schemas.microsoft.com/office/drawing/2014/main" xmlns="" id="{ECB497A0-FCBF-4C05-9F02-465FD4EBCDBD}"/>
                  </a:ext>
                </a:extLst>
              </p:cNvPr>
              <p:cNvSpPr/>
              <p:nvPr/>
            </p:nvSpPr>
            <p:spPr>
              <a:xfrm>
                <a:off x="0" y="255240"/>
                <a:ext cx="590245" cy="123472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338" y="0"/>
                    </a:moveTo>
                    <a:cubicBezTo>
                      <a:pt x="5538" y="0"/>
                      <a:pt x="5538" y="0"/>
                      <a:pt x="5538" y="0"/>
                    </a:cubicBezTo>
                    <a:cubicBezTo>
                      <a:pt x="1662" y="0"/>
                      <a:pt x="0" y="1580"/>
                      <a:pt x="0" y="2107"/>
                    </a:cubicBezTo>
                    <a:cubicBezTo>
                      <a:pt x="0" y="9746"/>
                      <a:pt x="0" y="9746"/>
                      <a:pt x="0" y="9746"/>
                    </a:cubicBezTo>
                    <a:cubicBezTo>
                      <a:pt x="0" y="10141"/>
                      <a:pt x="831" y="10537"/>
                      <a:pt x="1938" y="10537"/>
                    </a:cubicBezTo>
                    <a:cubicBezTo>
                      <a:pt x="3046" y="10537"/>
                      <a:pt x="3600" y="10141"/>
                      <a:pt x="3600" y="9746"/>
                    </a:cubicBezTo>
                    <a:cubicBezTo>
                      <a:pt x="3600" y="3424"/>
                      <a:pt x="3600" y="3424"/>
                      <a:pt x="3600" y="3424"/>
                    </a:cubicBezTo>
                    <a:cubicBezTo>
                      <a:pt x="5262" y="3424"/>
                      <a:pt x="5262" y="3424"/>
                      <a:pt x="5262" y="3424"/>
                    </a:cubicBezTo>
                    <a:cubicBezTo>
                      <a:pt x="5262" y="9483"/>
                      <a:pt x="5262" y="9483"/>
                      <a:pt x="5262" y="9483"/>
                    </a:cubicBezTo>
                    <a:cubicBezTo>
                      <a:pt x="5262" y="9483"/>
                      <a:pt x="5262" y="9615"/>
                      <a:pt x="5262" y="9746"/>
                    </a:cubicBezTo>
                    <a:cubicBezTo>
                      <a:pt x="5262" y="20283"/>
                      <a:pt x="5262" y="20283"/>
                      <a:pt x="5262" y="20283"/>
                    </a:cubicBezTo>
                    <a:cubicBezTo>
                      <a:pt x="5262" y="21073"/>
                      <a:pt x="6369" y="21600"/>
                      <a:pt x="7754" y="21600"/>
                    </a:cubicBezTo>
                    <a:cubicBezTo>
                      <a:pt x="9138" y="21600"/>
                      <a:pt x="10246" y="21073"/>
                      <a:pt x="10246" y="20283"/>
                    </a:cubicBezTo>
                    <a:cubicBezTo>
                      <a:pt x="10246" y="10932"/>
                      <a:pt x="10246" y="10932"/>
                      <a:pt x="10246" y="10932"/>
                    </a:cubicBezTo>
                    <a:cubicBezTo>
                      <a:pt x="11354" y="10932"/>
                      <a:pt x="11354" y="10932"/>
                      <a:pt x="11354" y="10932"/>
                    </a:cubicBezTo>
                    <a:cubicBezTo>
                      <a:pt x="11354" y="20283"/>
                      <a:pt x="11354" y="20283"/>
                      <a:pt x="11354" y="20283"/>
                    </a:cubicBezTo>
                    <a:cubicBezTo>
                      <a:pt x="11354" y="21073"/>
                      <a:pt x="12462" y="21600"/>
                      <a:pt x="13846" y="21600"/>
                    </a:cubicBezTo>
                    <a:cubicBezTo>
                      <a:pt x="15231" y="21600"/>
                      <a:pt x="16338" y="21073"/>
                      <a:pt x="16338" y="20283"/>
                    </a:cubicBezTo>
                    <a:cubicBezTo>
                      <a:pt x="16338" y="3424"/>
                      <a:pt x="16338" y="3424"/>
                      <a:pt x="16338" y="3424"/>
                    </a:cubicBezTo>
                    <a:cubicBezTo>
                      <a:pt x="17723" y="3424"/>
                      <a:pt x="17723" y="3424"/>
                      <a:pt x="17723" y="3424"/>
                    </a:cubicBezTo>
                    <a:cubicBezTo>
                      <a:pt x="17723" y="9746"/>
                      <a:pt x="17723" y="9746"/>
                      <a:pt x="17723" y="9746"/>
                    </a:cubicBezTo>
                    <a:cubicBezTo>
                      <a:pt x="17723" y="10141"/>
                      <a:pt x="18554" y="10537"/>
                      <a:pt x="19662" y="10537"/>
                    </a:cubicBezTo>
                    <a:cubicBezTo>
                      <a:pt x="20769" y="10537"/>
                      <a:pt x="21600" y="10141"/>
                      <a:pt x="21600" y="9746"/>
                    </a:cubicBezTo>
                    <a:cubicBezTo>
                      <a:pt x="21600" y="1976"/>
                      <a:pt x="21600" y="1976"/>
                      <a:pt x="21600" y="1976"/>
                    </a:cubicBezTo>
                    <a:cubicBezTo>
                      <a:pt x="21600" y="1317"/>
                      <a:pt x="19938" y="0"/>
                      <a:pt x="16338" y="0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  <p:sp>
            <p:nvSpPr>
              <p:cNvPr id="62" name="Shape 3869">
                <a:extLst>
                  <a:ext uri="{FF2B5EF4-FFF2-40B4-BE49-F238E27FC236}">
                    <a16:creationId xmlns:a16="http://schemas.microsoft.com/office/drawing/2014/main" xmlns="" id="{D09509AA-27EC-49FE-AD29-7655CA7E760F}"/>
                  </a:ext>
                </a:extLst>
              </p:cNvPr>
              <p:cNvSpPr/>
              <p:nvPr/>
            </p:nvSpPr>
            <p:spPr>
              <a:xfrm>
                <a:off x="181859" y="0"/>
                <a:ext cx="236100" cy="2329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</p:grpSp>
        <p:grpSp>
          <p:nvGrpSpPr>
            <p:cNvPr id="58" name="Group 3873">
              <a:extLst>
                <a:ext uri="{FF2B5EF4-FFF2-40B4-BE49-F238E27FC236}">
                  <a16:creationId xmlns:a16="http://schemas.microsoft.com/office/drawing/2014/main" xmlns="" id="{FC4C557C-C725-4082-AACC-C1F6FCD8A392}"/>
                </a:ext>
              </a:extLst>
            </p:cNvPr>
            <p:cNvGrpSpPr/>
            <p:nvPr/>
          </p:nvGrpSpPr>
          <p:grpSpPr>
            <a:xfrm>
              <a:off x="8053307" y="7805613"/>
              <a:ext cx="424716" cy="1079670"/>
              <a:chOff x="0" y="0"/>
              <a:chExt cx="590245" cy="1500051"/>
            </a:xfrm>
            <a:grpFill/>
          </p:grpSpPr>
          <p:sp>
            <p:nvSpPr>
              <p:cNvPr id="59" name="Shape 3871">
                <a:extLst>
                  <a:ext uri="{FF2B5EF4-FFF2-40B4-BE49-F238E27FC236}">
                    <a16:creationId xmlns:a16="http://schemas.microsoft.com/office/drawing/2014/main" xmlns="" id="{66229E19-803B-4CF1-AFCA-863EDA00BD07}"/>
                  </a:ext>
                </a:extLst>
              </p:cNvPr>
              <p:cNvSpPr/>
              <p:nvPr/>
            </p:nvSpPr>
            <p:spPr>
              <a:xfrm>
                <a:off x="0" y="265322"/>
                <a:ext cx="590245" cy="12347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338" y="0"/>
                    </a:moveTo>
                    <a:cubicBezTo>
                      <a:pt x="5538" y="0"/>
                      <a:pt x="5538" y="0"/>
                      <a:pt x="5538" y="0"/>
                    </a:cubicBezTo>
                    <a:cubicBezTo>
                      <a:pt x="1662" y="0"/>
                      <a:pt x="0" y="1580"/>
                      <a:pt x="0" y="2107"/>
                    </a:cubicBezTo>
                    <a:cubicBezTo>
                      <a:pt x="0" y="9746"/>
                      <a:pt x="0" y="9746"/>
                      <a:pt x="0" y="9746"/>
                    </a:cubicBezTo>
                    <a:cubicBezTo>
                      <a:pt x="0" y="10141"/>
                      <a:pt x="831" y="10537"/>
                      <a:pt x="1938" y="10537"/>
                    </a:cubicBezTo>
                    <a:cubicBezTo>
                      <a:pt x="3046" y="10537"/>
                      <a:pt x="3600" y="10141"/>
                      <a:pt x="3600" y="9746"/>
                    </a:cubicBezTo>
                    <a:cubicBezTo>
                      <a:pt x="3600" y="3424"/>
                      <a:pt x="3600" y="3424"/>
                      <a:pt x="3600" y="3424"/>
                    </a:cubicBezTo>
                    <a:cubicBezTo>
                      <a:pt x="5262" y="3424"/>
                      <a:pt x="5262" y="3424"/>
                      <a:pt x="5262" y="3424"/>
                    </a:cubicBezTo>
                    <a:cubicBezTo>
                      <a:pt x="5262" y="9483"/>
                      <a:pt x="5262" y="9483"/>
                      <a:pt x="5262" y="9483"/>
                    </a:cubicBezTo>
                    <a:cubicBezTo>
                      <a:pt x="5262" y="9483"/>
                      <a:pt x="5262" y="9615"/>
                      <a:pt x="5262" y="9746"/>
                    </a:cubicBezTo>
                    <a:cubicBezTo>
                      <a:pt x="5262" y="20283"/>
                      <a:pt x="5262" y="20283"/>
                      <a:pt x="5262" y="20283"/>
                    </a:cubicBezTo>
                    <a:cubicBezTo>
                      <a:pt x="5262" y="21073"/>
                      <a:pt x="6369" y="21600"/>
                      <a:pt x="7754" y="21600"/>
                    </a:cubicBezTo>
                    <a:cubicBezTo>
                      <a:pt x="9138" y="21600"/>
                      <a:pt x="10246" y="21073"/>
                      <a:pt x="10246" y="20283"/>
                    </a:cubicBezTo>
                    <a:cubicBezTo>
                      <a:pt x="10246" y="10932"/>
                      <a:pt x="10246" y="10932"/>
                      <a:pt x="10246" y="10932"/>
                    </a:cubicBezTo>
                    <a:cubicBezTo>
                      <a:pt x="11354" y="10932"/>
                      <a:pt x="11354" y="10932"/>
                      <a:pt x="11354" y="10932"/>
                    </a:cubicBezTo>
                    <a:cubicBezTo>
                      <a:pt x="11354" y="20283"/>
                      <a:pt x="11354" y="20283"/>
                      <a:pt x="11354" y="20283"/>
                    </a:cubicBezTo>
                    <a:cubicBezTo>
                      <a:pt x="11354" y="21073"/>
                      <a:pt x="12462" y="21600"/>
                      <a:pt x="13846" y="21600"/>
                    </a:cubicBezTo>
                    <a:cubicBezTo>
                      <a:pt x="15231" y="21600"/>
                      <a:pt x="16338" y="21073"/>
                      <a:pt x="16338" y="20283"/>
                    </a:cubicBezTo>
                    <a:cubicBezTo>
                      <a:pt x="16338" y="3424"/>
                      <a:pt x="16338" y="3424"/>
                      <a:pt x="16338" y="3424"/>
                    </a:cubicBezTo>
                    <a:cubicBezTo>
                      <a:pt x="17723" y="3424"/>
                      <a:pt x="17723" y="3424"/>
                      <a:pt x="17723" y="3424"/>
                    </a:cubicBezTo>
                    <a:cubicBezTo>
                      <a:pt x="17723" y="9746"/>
                      <a:pt x="17723" y="9746"/>
                      <a:pt x="17723" y="9746"/>
                    </a:cubicBezTo>
                    <a:cubicBezTo>
                      <a:pt x="17723" y="10141"/>
                      <a:pt x="18554" y="10537"/>
                      <a:pt x="19662" y="10537"/>
                    </a:cubicBezTo>
                    <a:cubicBezTo>
                      <a:pt x="20769" y="10537"/>
                      <a:pt x="21600" y="10141"/>
                      <a:pt x="21600" y="9746"/>
                    </a:cubicBezTo>
                    <a:cubicBezTo>
                      <a:pt x="21600" y="1976"/>
                      <a:pt x="21600" y="1976"/>
                      <a:pt x="21600" y="1976"/>
                    </a:cubicBezTo>
                    <a:cubicBezTo>
                      <a:pt x="21600" y="1317"/>
                      <a:pt x="19938" y="0"/>
                      <a:pt x="16338" y="0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  <p:sp>
            <p:nvSpPr>
              <p:cNvPr id="60" name="Shape 3872">
                <a:extLst>
                  <a:ext uri="{FF2B5EF4-FFF2-40B4-BE49-F238E27FC236}">
                    <a16:creationId xmlns:a16="http://schemas.microsoft.com/office/drawing/2014/main" xmlns="" id="{2D4FFFD3-6709-475D-80AA-04D95C508A56}"/>
                  </a:ext>
                </a:extLst>
              </p:cNvPr>
              <p:cNvSpPr/>
              <p:nvPr/>
            </p:nvSpPr>
            <p:spPr>
              <a:xfrm>
                <a:off x="181859" y="0"/>
                <a:ext cx="236100" cy="2329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</p:grp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7E19CD35-A9FB-41B4-B171-75F3D5852EEC}"/>
              </a:ext>
            </a:extLst>
          </p:cNvPr>
          <p:cNvSpPr txBox="1"/>
          <p:nvPr/>
        </p:nvSpPr>
        <p:spPr>
          <a:xfrm>
            <a:off x="2310640" y="861066"/>
            <a:ext cx="458828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i="1" dirty="0">
                <a:solidFill>
                  <a:schemeClr val="tx2"/>
                </a:solidFill>
                <a:latin typeface="Tw Cen MT" panose="020B0602020104020603" pitchFamily="34" charset="-18"/>
              </a:rPr>
              <a:t>I</a:t>
            </a:r>
            <a:r>
              <a:rPr lang="en-US" sz="2000" b="1" i="1" dirty="0">
                <a:latin typeface="Tw Cen MT" panose="020B0602020104020603" pitchFamily="34" charset="-18"/>
              </a:rPr>
              <a:t>ntelligence-driven</a:t>
            </a:r>
            <a:br>
              <a:rPr lang="en-US" sz="2000" b="1" i="1" dirty="0">
                <a:latin typeface="Tw Cen MT" panose="020B0602020104020603" pitchFamily="34" charset="-18"/>
              </a:rPr>
            </a:br>
            <a:r>
              <a:rPr lang="en-US" sz="2000" b="1" i="1" dirty="0">
                <a:latin typeface="Tw Cen MT" panose="020B0602020104020603" pitchFamily="34" charset="-18"/>
              </a:rPr>
              <a:t>	</a:t>
            </a:r>
            <a:r>
              <a:rPr lang="en-US" sz="2000" b="1" i="1" dirty="0">
                <a:solidFill>
                  <a:schemeClr val="tx2"/>
                </a:solidFill>
                <a:latin typeface="Tw Cen MT" panose="020B0602020104020603" pitchFamily="34" charset="-18"/>
              </a:rPr>
              <a:t>F</a:t>
            </a:r>
            <a:r>
              <a:rPr lang="en-US" sz="2000" b="1" i="1" dirty="0">
                <a:latin typeface="Tw Cen MT" panose="020B0602020104020603" pitchFamily="34" charset="-18"/>
              </a:rPr>
              <a:t>ull-</a:t>
            </a:r>
            <a:r>
              <a:rPr lang="en-US" sz="2000" b="1" i="1" dirty="0" err="1">
                <a:latin typeface="Tw Cen MT" panose="020B0602020104020603" pitchFamily="34" charset="-18"/>
              </a:rPr>
              <a:t>cyberchain</a:t>
            </a:r>
            <a:r>
              <a:rPr lang="en-US" sz="2000" b="1" i="1" dirty="0">
                <a:latin typeface="Tw Cen MT" panose="020B0602020104020603" pitchFamily="34" charset="-18"/>
              </a:rPr>
              <a:t/>
            </a:r>
            <a:br>
              <a:rPr lang="en-US" sz="2000" b="1" i="1" dirty="0">
                <a:latin typeface="Tw Cen MT" panose="020B0602020104020603" pitchFamily="34" charset="-18"/>
              </a:rPr>
            </a:br>
            <a:r>
              <a:rPr lang="en-US" sz="2000" b="1" i="1" dirty="0">
                <a:latin typeface="Tw Cen MT" panose="020B0602020104020603" pitchFamily="34" charset="-18"/>
              </a:rPr>
              <a:t>		</a:t>
            </a:r>
            <a:r>
              <a:rPr lang="en-US" sz="2000" b="1" i="1" dirty="0">
                <a:solidFill>
                  <a:schemeClr val="tx2"/>
                </a:solidFill>
                <a:latin typeface="Tw Cen MT" panose="020B0602020104020603" pitchFamily="34" charset="-18"/>
              </a:rPr>
              <a:t>T</a:t>
            </a:r>
            <a:r>
              <a:rPr lang="en-US" sz="2000" b="1" i="1" dirty="0">
                <a:latin typeface="Tw Cen MT" panose="020B0602020104020603" pitchFamily="34" charset="-18"/>
              </a:rPr>
              <a:t>ime &amp; cost-effectiv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EF3C49C4-6A2C-44CF-BFE9-762062E76F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754" y="2923978"/>
            <a:ext cx="7229723" cy="3206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40246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xmlns="" id="{7289F229-9F90-42C1-8C36-4EE51B84EB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2357" y="723714"/>
            <a:ext cx="5350727" cy="1325563"/>
          </a:xfrm>
        </p:spPr>
        <p:txBody>
          <a:bodyPr/>
          <a:lstStyle/>
          <a:p>
            <a:r>
              <a:rPr lang="cs-CZ" dirty="0"/>
              <a:t>AGENDA</a:t>
            </a:r>
          </a:p>
        </p:txBody>
      </p:sp>
      <p:sp>
        <p:nvSpPr>
          <p:cNvPr id="13" name="Szöveg helye 6">
            <a:extLst>
              <a:ext uri="{FF2B5EF4-FFF2-40B4-BE49-F238E27FC236}">
                <a16:creationId xmlns:a16="http://schemas.microsoft.com/office/drawing/2014/main" xmlns="" id="{5D66C7FB-B9A3-4622-AE8E-B5172148EF7A}"/>
              </a:ext>
            </a:extLst>
          </p:cNvPr>
          <p:cNvSpPr txBox="1">
            <a:spLocks/>
          </p:cNvSpPr>
          <p:nvPr/>
        </p:nvSpPr>
        <p:spPr>
          <a:xfrm>
            <a:off x="5119414" y="4001108"/>
            <a:ext cx="4974946" cy="568844"/>
          </a:xfrm>
          <a:custGeom>
            <a:avLst/>
            <a:gdLst>
              <a:gd name="connsiteX0" fmla="*/ 0 w 4089485"/>
              <a:gd name="connsiteY0" fmla="*/ 0 h 568844"/>
              <a:gd name="connsiteX1" fmla="*/ 4089485 w 4089485"/>
              <a:gd name="connsiteY1" fmla="*/ 0 h 568844"/>
              <a:gd name="connsiteX2" fmla="*/ 4089485 w 4089485"/>
              <a:gd name="connsiteY2" fmla="*/ 568844 h 568844"/>
              <a:gd name="connsiteX3" fmla="*/ 0 w 4089485"/>
              <a:gd name="connsiteY3" fmla="*/ 568844 h 568844"/>
              <a:gd name="connsiteX4" fmla="*/ 0 w 4089485"/>
              <a:gd name="connsiteY4" fmla="*/ 0 h 568844"/>
              <a:gd name="connsiteX0" fmla="*/ 0 w 4334711"/>
              <a:gd name="connsiteY0" fmla="*/ 0 h 568844"/>
              <a:gd name="connsiteX1" fmla="*/ 4334711 w 4334711"/>
              <a:gd name="connsiteY1" fmla="*/ 0 h 568844"/>
              <a:gd name="connsiteX2" fmla="*/ 4089485 w 4334711"/>
              <a:gd name="connsiteY2" fmla="*/ 568844 h 568844"/>
              <a:gd name="connsiteX3" fmla="*/ 0 w 4334711"/>
              <a:gd name="connsiteY3" fmla="*/ 568844 h 568844"/>
              <a:gd name="connsiteX4" fmla="*/ 0 w 4334711"/>
              <a:gd name="connsiteY4" fmla="*/ 0 h 568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4711" h="568844">
                <a:moveTo>
                  <a:pt x="0" y="0"/>
                </a:moveTo>
                <a:lnTo>
                  <a:pt x="4334711" y="0"/>
                </a:lnTo>
                <a:lnTo>
                  <a:pt x="4089485" y="568844"/>
                </a:lnTo>
                <a:lnTo>
                  <a:pt x="0" y="56884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</p:spPr>
        <p:txBody>
          <a:bodyPr vert="horz" lIns="38064" tIns="19033" rIns="38064" bIns="19033" rtlCol="0" anchor="ctr">
            <a:normAutofit/>
          </a:bodyPr>
          <a:lstStyle/>
          <a:p>
            <a:pPr defTabSz="380654">
              <a:lnSpc>
                <a:spcPct val="90000"/>
              </a:lnSpc>
              <a:spcBef>
                <a:spcPts val="416"/>
              </a:spcBef>
              <a:buClr>
                <a:srgbClr val="2981A9"/>
              </a:buClr>
              <a:defRPr/>
            </a:pPr>
            <a:r>
              <a:rPr lang="cs-CZ" sz="1801" cap="all" dirty="0">
                <a:solidFill>
                  <a:srgbClr val="FFFFFF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Jak to děláme</a:t>
            </a:r>
          </a:p>
        </p:txBody>
      </p:sp>
      <p:sp>
        <p:nvSpPr>
          <p:cNvPr id="14" name="Szöveg helye 6">
            <a:extLst>
              <a:ext uri="{FF2B5EF4-FFF2-40B4-BE49-F238E27FC236}">
                <a16:creationId xmlns:a16="http://schemas.microsoft.com/office/drawing/2014/main" xmlns="" id="{2810DEA8-03CC-46C7-8659-BDD9E1776B4B}"/>
              </a:ext>
            </a:extLst>
          </p:cNvPr>
          <p:cNvSpPr txBox="1">
            <a:spLocks/>
          </p:cNvSpPr>
          <p:nvPr/>
        </p:nvSpPr>
        <p:spPr>
          <a:xfrm>
            <a:off x="5126891" y="3361652"/>
            <a:ext cx="5293461" cy="568844"/>
          </a:xfrm>
          <a:custGeom>
            <a:avLst/>
            <a:gdLst>
              <a:gd name="connsiteX0" fmla="*/ 0 w 4089485"/>
              <a:gd name="connsiteY0" fmla="*/ 0 h 568844"/>
              <a:gd name="connsiteX1" fmla="*/ 4089485 w 4089485"/>
              <a:gd name="connsiteY1" fmla="*/ 0 h 568844"/>
              <a:gd name="connsiteX2" fmla="*/ 4089485 w 4089485"/>
              <a:gd name="connsiteY2" fmla="*/ 568844 h 568844"/>
              <a:gd name="connsiteX3" fmla="*/ 0 w 4089485"/>
              <a:gd name="connsiteY3" fmla="*/ 568844 h 568844"/>
              <a:gd name="connsiteX4" fmla="*/ 0 w 4089485"/>
              <a:gd name="connsiteY4" fmla="*/ 0 h 568844"/>
              <a:gd name="connsiteX0" fmla="*/ 0 w 4334711"/>
              <a:gd name="connsiteY0" fmla="*/ 0 h 568844"/>
              <a:gd name="connsiteX1" fmla="*/ 4334711 w 4334711"/>
              <a:gd name="connsiteY1" fmla="*/ 0 h 568844"/>
              <a:gd name="connsiteX2" fmla="*/ 4089485 w 4334711"/>
              <a:gd name="connsiteY2" fmla="*/ 568844 h 568844"/>
              <a:gd name="connsiteX3" fmla="*/ 0 w 4334711"/>
              <a:gd name="connsiteY3" fmla="*/ 568844 h 568844"/>
              <a:gd name="connsiteX4" fmla="*/ 0 w 4334711"/>
              <a:gd name="connsiteY4" fmla="*/ 0 h 568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4711" h="568844">
                <a:moveTo>
                  <a:pt x="0" y="0"/>
                </a:moveTo>
                <a:lnTo>
                  <a:pt x="4334711" y="0"/>
                </a:lnTo>
                <a:lnTo>
                  <a:pt x="4089485" y="568844"/>
                </a:lnTo>
                <a:lnTo>
                  <a:pt x="0" y="568844"/>
                </a:lnTo>
                <a:lnTo>
                  <a:pt x="0" y="0"/>
                </a:lnTo>
                <a:close/>
              </a:path>
            </a:pathLst>
          </a:custGeom>
          <a:solidFill>
            <a:srgbClr val="95979C"/>
          </a:solidFill>
        </p:spPr>
        <p:txBody>
          <a:bodyPr vert="horz" lIns="38064" tIns="19033" rIns="38064" bIns="19033" rtlCol="0" anchor="ctr">
            <a:normAutofit/>
          </a:bodyPr>
          <a:lstStyle/>
          <a:p>
            <a:pPr defTabSz="380654">
              <a:lnSpc>
                <a:spcPct val="90000"/>
              </a:lnSpc>
              <a:spcBef>
                <a:spcPts val="416"/>
              </a:spcBef>
              <a:buClr>
                <a:srgbClr val="2981A9"/>
              </a:buClr>
              <a:defRPr/>
            </a:pPr>
            <a:r>
              <a:rPr lang="cs-CZ" sz="1801" cap="all" dirty="0">
                <a:solidFill>
                  <a:srgbClr val="FFFFFF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Problematika NIS2</a:t>
            </a:r>
          </a:p>
        </p:txBody>
      </p:sp>
      <p:sp>
        <p:nvSpPr>
          <p:cNvPr id="15" name="Szöveg helye 6">
            <a:extLst>
              <a:ext uri="{FF2B5EF4-FFF2-40B4-BE49-F238E27FC236}">
                <a16:creationId xmlns:a16="http://schemas.microsoft.com/office/drawing/2014/main" xmlns="" id="{CE96F335-2544-48A1-802E-D2AC597E6351}"/>
              </a:ext>
            </a:extLst>
          </p:cNvPr>
          <p:cNvSpPr txBox="1">
            <a:spLocks/>
          </p:cNvSpPr>
          <p:nvPr/>
        </p:nvSpPr>
        <p:spPr>
          <a:xfrm>
            <a:off x="5126889" y="2720483"/>
            <a:ext cx="5630155" cy="568844"/>
          </a:xfrm>
          <a:custGeom>
            <a:avLst/>
            <a:gdLst>
              <a:gd name="connsiteX0" fmla="*/ 0 w 4089485"/>
              <a:gd name="connsiteY0" fmla="*/ 0 h 568844"/>
              <a:gd name="connsiteX1" fmla="*/ 4089485 w 4089485"/>
              <a:gd name="connsiteY1" fmla="*/ 0 h 568844"/>
              <a:gd name="connsiteX2" fmla="*/ 4089485 w 4089485"/>
              <a:gd name="connsiteY2" fmla="*/ 568844 h 568844"/>
              <a:gd name="connsiteX3" fmla="*/ 0 w 4089485"/>
              <a:gd name="connsiteY3" fmla="*/ 568844 h 568844"/>
              <a:gd name="connsiteX4" fmla="*/ 0 w 4089485"/>
              <a:gd name="connsiteY4" fmla="*/ 0 h 568844"/>
              <a:gd name="connsiteX0" fmla="*/ 0 w 4334711"/>
              <a:gd name="connsiteY0" fmla="*/ 0 h 568844"/>
              <a:gd name="connsiteX1" fmla="*/ 4334711 w 4334711"/>
              <a:gd name="connsiteY1" fmla="*/ 0 h 568844"/>
              <a:gd name="connsiteX2" fmla="*/ 4089485 w 4334711"/>
              <a:gd name="connsiteY2" fmla="*/ 568844 h 568844"/>
              <a:gd name="connsiteX3" fmla="*/ 0 w 4334711"/>
              <a:gd name="connsiteY3" fmla="*/ 568844 h 568844"/>
              <a:gd name="connsiteX4" fmla="*/ 0 w 4334711"/>
              <a:gd name="connsiteY4" fmla="*/ 0 h 568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4711" h="568844">
                <a:moveTo>
                  <a:pt x="0" y="0"/>
                </a:moveTo>
                <a:lnTo>
                  <a:pt x="4334711" y="0"/>
                </a:lnTo>
                <a:lnTo>
                  <a:pt x="4089485" y="568844"/>
                </a:lnTo>
                <a:lnTo>
                  <a:pt x="0" y="568844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</p:spPr>
        <p:txBody>
          <a:bodyPr vert="horz" lIns="38064" tIns="19033" rIns="38064" bIns="19033" rtlCol="0" anchor="ctr">
            <a:normAutofit/>
          </a:bodyPr>
          <a:lstStyle/>
          <a:p>
            <a:pPr defTabSz="380654">
              <a:lnSpc>
                <a:spcPct val="90000"/>
              </a:lnSpc>
              <a:spcBef>
                <a:spcPts val="416"/>
              </a:spcBef>
              <a:buClr>
                <a:srgbClr val="2981A9"/>
              </a:buClr>
              <a:defRPr/>
            </a:pPr>
            <a:r>
              <a:rPr lang="cs-CZ" sz="1801" cap="all" dirty="0">
                <a:solidFill>
                  <a:srgbClr val="FFFFFF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Vektory útoku, praktická ukázka</a:t>
            </a:r>
          </a:p>
        </p:txBody>
      </p:sp>
      <p:sp>
        <p:nvSpPr>
          <p:cNvPr id="16" name="Szöveg helye 6">
            <a:extLst>
              <a:ext uri="{FF2B5EF4-FFF2-40B4-BE49-F238E27FC236}">
                <a16:creationId xmlns:a16="http://schemas.microsoft.com/office/drawing/2014/main" xmlns="" id="{F7D5DC18-0FE0-4D87-986B-A5EC16ECDB87}"/>
              </a:ext>
            </a:extLst>
          </p:cNvPr>
          <p:cNvSpPr txBox="1">
            <a:spLocks/>
          </p:cNvSpPr>
          <p:nvPr/>
        </p:nvSpPr>
        <p:spPr>
          <a:xfrm>
            <a:off x="5126890" y="2079311"/>
            <a:ext cx="6005161" cy="568844"/>
          </a:xfrm>
          <a:custGeom>
            <a:avLst/>
            <a:gdLst>
              <a:gd name="connsiteX0" fmla="*/ 0 w 4089485"/>
              <a:gd name="connsiteY0" fmla="*/ 0 h 568844"/>
              <a:gd name="connsiteX1" fmla="*/ 4089485 w 4089485"/>
              <a:gd name="connsiteY1" fmla="*/ 0 h 568844"/>
              <a:gd name="connsiteX2" fmla="*/ 4089485 w 4089485"/>
              <a:gd name="connsiteY2" fmla="*/ 568844 h 568844"/>
              <a:gd name="connsiteX3" fmla="*/ 0 w 4089485"/>
              <a:gd name="connsiteY3" fmla="*/ 568844 h 568844"/>
              <a:gd name="connsiteX4" fmla="*/ 0 w 4089485"/>
              <a:gd name="connsiteY4" fmla="*/ 0 h 568844"/>
              <a:gd name="connsiteX0" fmla="*/ 0 w 4334711"/>
              <a:gd name="connsiteY0" fmla="*/ 0 h 568844"/>
              <a:gd name="connsiteX1" fmla="*/ 4334711 w 4334711"/>
              <a:gd name="connsiteY1" fmla="*/ 0 h 568844"/>
              <a:gd name="connsiteX2" fmla="*/ 4089485 w 4334711"/>
              <a:gd name="connsiteY2" fmla="*/ 568844 h 568844"/>
              <a:gd name="connsiteX3" fmla="*/ 0 w 4334711"/>
              <a:gd name="connsiteY3" fmla="*/ 568844 h 568844"/>
              <a:gd name="connsiteX4" fmla="*/ 0 w 4334711"/>
              <a:gd name="connsiteY4" fmla="*/ 0 h 568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4711" h="568844">
                <a:moveTo>
                  <a:pt x="0" y="0"/>
                </a:moveTo>
                <a:lnTo>
                  <a:pt x="4334711" y="0"/>
                </a:lnTo>
                <a:lnTo>
                  <a:pt x="4089485" y="568844"/>
                </a:lnTo>
                <a:lnTo>
                  <a:pt x="0" y="56884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vert="horz" lIns="38064" tIns="19033" rIns="38064" bIns="19033" rtlCol="0" anchor="ctr">
            <a:normAutofit/>
          </a:bodyPr>
          <a:lstStyle/>
          <a:p>
            <a:pPr defTabSz="380654">
              <a:lnSpc>
                <a:spcPct val="90000"/>
              </a:lnSpc>
              <a:spcBef>
                <a:spcPts val="416"/>
              </a:spcBef>
              <a:buClr>
                <a:srgbClr val="2981A9"/>
              </a:buClr>
              <a:defRPr/>
            </a:pPr>
            <a:r>
              <a:rPr lang="cs-CZ" sz="1801" cap="all" dirty="0">
                <a:solidFill>
                  <a:srgbClr val="FFFFFF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Představení </a:t>
            </a:r>
            <a:r>
              <a:rPr lang="cs-CZ" sz="1801" cap="all" dirty="0" err="1">
                <a:solidFill>
                  <a:srgbClr val="FFFFFF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axenta</a:t>
            </a:r>
            <a:endParaRPr lang="cs-CZ" sz="1801" cap="all" dirty="0">
              <a:solidFill>
                <a:srgbClr val="FFFFFF"/>
              </a:solidFill>
              <a:latin typeface="Tw Cen MT" panose="020B0602020104020603" pitchFamily="34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pic>
        <p:nvPicPr>
          <p:cNvPr id="9" name="Picture 11">
            <a:extLst>
              <a:ext uri="{FF2B5EF4-FFF2-40B4-BE49-F238E27FC236}">
                <a16:creationId xmlns:a16="http://schemas.microsoft.com/office/drawing/2014/main" xmlns="" id="{3708AA90-8886-4E82-9C57-E0799F2929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768" y="2107069"/>
            <a:ext cx="2304441" cy="2304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432084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xmlns="" id="{532CB35F-10DF-439B-AB11-E730DE6B1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989592"/>
            <a:ext cx="2373545" cy="883812"/>
          </a:xfrm>
        </p:spPr>
        <p:txBody>
          <a:bodyPr/>
          <a:lstStyle/>
          <a:p>
            <a:r>
              <a:rPr lang="cs-CZ"/>
              <a:t>Děkuji</a:t>
            </a:r>
          </a:p>
        </p:txBody>
      </p:sp>
      <p:grpSp>
        <p:nvGrpSpPr>
          <p:cNvPr id="6" name="Group 10">
            <a:extLst>
              <a:ext uri="{FF2B5EF4-FFF2-40B4-BE49-F238E27FC236}">
                <a16:creationId xmlns:a16="http://schemas.microsoft.com/office/drawing/2014/main" xmlns="" id="{BD477CA4-BD91-446B-903D-6BBBC86466D1}"/>
              </a:ext>
            </a:extLst>
          </p:cNvPr>
          <p:cNvGrpSpPr/>
          <p:nvPr/>
        </p:nvGrpSpPr>
        <p:grpSpPr>
          <a:xfrm>
            <a:off x="755193" y="613456"/>
            <a:ext cx="10730933" cy="5263148"/>
            <a:chOff x="-637776" y="184480"/>
            <a:chExt cx="9666903" cy="4741279"/>
          </a:xfrm>
        </p:grpSpPr>
        <p:sp>
          <p:nvSpPr>
            <p:cNvPr id="7" name="Cube 378">
              <a:extLst>
                <a:ext uri="{FF2B5EF4-FFF2-40B4-BE49-F238E27FC236}">
                  <a16:creationId xmlns:a16="http://schemas.microsoft.com/office/drawing/2014/main" xmlns="" id="{59A22964-5226-4898-9C4E-5D8339B872B5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5923093" y="4312705"/>
              <a:ext cx="373356" cy="357087"/>
            </a:xfrm>
            <a:prstGeom prst="cube">
              <a:avLst>
                <a:gd name="adj" fmla="val 30898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28575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1456" tIns="50729" rIns="101456" bIns="50729" rtlCol="0" anchor="ctr"/>
            <a:lstStyle/>
            <a:p>
              <a:pPr algn="ctr" defTabSz="504442"/>
              <a:endParaRPr lang="en-US" sz="1332">
                <a:solidFill>
                  <a:prstClr val="black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8" name="Freeform 379">
              <a:extLst>
                <a:ext uri="{FF2B5EF4-FFF2-40B4-BE49-F238E27FC236}">
                  <a16:creationId xmlns:a16="http://schemas.microsoft.com/office/drawing/2014/main" xmlns="" id="{6A56F55C-7F0B-44C5-B562-6CB2965178EC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5769538" y="1637814"/>
              <a:ext cx="1053821" cy="794767"/>
            </a:xfrm>
            <a:custGeom>
              <a:avLst/>
              <a:gdLst>
                <a:gd name="connsiteX0" fmla="*/ 551887 w 551887"/>
                <a:gd name="connsiteY0" fmla="*/ 473432 h 473432"/>
                <a:gd name="connsiteX1" fmla="*/ 0 w 551887"/>
                <a:gd name="connsiteY1" fmla="*/ 473432 h 473432"/>
                <a:gd name="connsiteX2" fmla="*/ 51402 w 551887"/>
                <a:gd name="connsiteY2" fmla="*/ 0 h 473432"/>
                <a:gd name="connsiteX3" fmla="*/ 524833 w 551887"/>
                <a:gd name="connsiteY3" fmla="*/ 0 h 473432"/>
                <a:gd name="connsiteX4" fmla="*/ 551887 w 551887"/>
                <a:gd name="connsiteY4" fmla="*/ 473432 h 473432"/>
                <a:gd name="connsiteX0" fmla="*/ 721634 w 721634"/>
                <a:gd name="connsiteY0" fmla="*/ 473432 h 473432"/>
                <a:gd name="connsiteX1" fmla="*/ 169747 w 721634"/>
                <a:gd name="connsiteY1" fmla="*/ 473432 h 473432"/>
                <a:gd name="connsiteX2" fmla="*/ 221149 w 721634"/>
                <a:gd name="connsiteY2" fmla="*/ 0 h 473432"/>
                <a:gd name="connsiteX3" fmla="*/ 694580 w 721634"/>
                <a:gd name="connsiteY3" fmla="*/ 0 h 473432"/>
                <a:gd name="connsiteX4" fmla="*/ 721634 w 721634"/>
                <a:gd name="connsiteY4" fmla="*/ 473432 h 473432"/>
                <a:gd name="connsiteX0" fmla="*/ 761161 w 761161"/>
                <a:gd name="connsiteY0" fmla="*/ 474811 h 474811"/>
                <a:gd name="connsiteX1" fmla="*/ 209274 w 761161"/>
                <a:gd name="connsiteY1" fmla="*/ 474811 h 474811"/>
                <a:gd name="connsiteX2" fmla="*/ 260676 w 761161"/>
                <a:gd name="connsiteY2" fmla="*/ 1379 h 474811"/>
                <a:gd name="connsiteX3" fmla="*/ 734107 w 761161"/>
                <a:gd name="connsiteY3" fmla="*/ 1379 h 474811"/>
                <a:gd name="connsiteX4" fmla="*/ 761161 w 761161"/>
                <a:gd name="connsiteY4" fmla="*/ 474811 h 474811"/>
                <a:gd name="connsiteX0" fmla="*/ 680396 w 680396"/>
                <a:gd name="connsiteY0" fmla="*/ 474639 h 474639"/>
                <a:gd name="connsiteX1" fmla="*/ 128509 w 680396"/>
                <a:gd name="connsiteY1" fmla="*/ 474639 h 474639"/>
                <a:gd name="connsiteX2" fmla="*/ 179911 w 680396"/>
                <a:gd name="connsiteY2" fmla="*/ 1207 h 474639"/>
                <a:gd name="connsiteX3" fmla="*/ 653342 w 680396"/>
                <a:gd name="connsiteY3" fmla="*/ 1207 h 474639"/>
                <a:gd name="connsiteX4" fmla="*/ 680396 w 680396"/>
                <a:gd name="connsiteY4" fmla="*/ 474639 h 474639"/>
                <a:gd name="connsiteX0" fmla="*/ 737528 w 737528"/>
                <a:gd name="connsiteY0" fmla="*/ 474883 h 474883"/>
                <a:gd name="connsiteX1" fmla="*/ 185641 w 737528"/>
                <a:gd name="connsiteY1" fmla="*/ 474883 h 474883"/>
                <a:gd name="connsiteX2" fmla="*/ 237043 w 737528"/>
                <a:gd name="connsiteY2" fmla="*/ 1451 h 474883"/>
                <a:gd name="connsiteX3" fmla="*/ 710474 w 737528"/>
                <a:gd name="connsiteY3" fmla="*/ 1451 h 474883"/>
                <a:gd name="connsiteX4" fmla="*/ 737528 w 737528"/>
                <a:gd name="connsiteY4" fmla="*/ 474883 h 474883"/>
                <a:gd name="connsiteX0" fmla="*/ 737528 w 737528"/>
                <a:gd name="connsiteY0" fmla="*/ 580442 h 580442"/>
                <a:gd name="connsiteX1" fmla="*/ 185641 w 737528"/>
                <a:gd name="connsiteY1" fmla="*/ 580442 h 580442"/>
                <a:gd name="connsiteX2" fmla="*/ 237043 w 737528"/>
                <a:gd name="connsiteY2" fmla="*/ 107010 h 580442"/>
                <a:gd name="connsiteX3" fmla="*/ 710474 w 737528"/>
                <a:gd name="connsiteY3" fmla="*/ 107010 h 580442"/>
                <a:gd name="connsiteX4" fmla="*/ 737528 w 737528"/>
                <a:gd name="connsiteY4" fmla="*/ 580442 h 580442"/>
                <a:gd name="connsiteX0" fmla="*/ 737528 w 737528"/>
                <a:gd name="connsiteY0" fmla="*/ 698619 h 698619"/>
                <a:gd name="connsiteX1" fmla="*/ 185641 w 737528"/>
                <a:gd name="connsiteY1" fmla="*/ 698619 h 698619"/>
                <a:gd name="connsiteX2" fmla="*/ 237043 w 737528"/>
                <a:gd name="connsiteY2" fmla="*/ 225187 h 698619"/>
                <a:gd name="connsiteX3" fmla="*/ 710474 w 737528"/>
                <a:gd name="connsiteY3" fmla="*/ 225187 h 698619"/>
                <a:gd name="connsiteX4" fmla="*/ 737528 w 737528"/>
                <a:gd name="connsiteY4" fmla="*/ 698619 h 698619"/>
                <a:gd name="connsiteX0" fmla="*/ 737528 w 737528"/>
                <a:gd name="connsiteY0" fmla="*/ 713575 h 713575"/>
                <a:gd name="connsiteX1" fmla="*/ 185641 w 737528"/>
                <a:gd name="connsiteY1" fmla="*/ 713575 h 713575"/>
                <a:gd name="connsiteX2" fmla="*/ 237043 w 737528"/>
                <a:gd name="connsiteY2" fmla="*/ 240143 h 713575"/>
                <a:gd name="connsiteX3" fmla="*/ 710474 w 737528"/>
                <a:gd name="connsiteY3" fmla="*/ 240143 h 713575"/>
                <a:gd name="connsiteX4" fmla="*/ 737528 w 737528"/>
                <a:gd name="connsiteY4" fmla="*/ 713575 h 713575"/>
                <a:gd name="connsiteX0" fmla="*/ 737528 w 889793"/>
                <a:gd name="connsiteY0" fmla="*/ 713575 h 713575"/>
                <a:gd name="connsiteX1" fmla="*/ 185641 w 889793"/>
                <a:gd name="connsiteY1" fmla="*/ 713575 h 713575"/>
                <a:gd name="connsiteX2" fmla="*/ 237043 w 889793"/>
                <a:gd name="connsiteY2" fmla="*/ 240143 h 713575"/>
                <a:gd name="connsiteX3" fmla="*/ 710474 w 889793"/>
                <a:gd name="connsiteY3" fmla="*/ 240143 h 713575"/>
                <a:gd name="connsiteX4" fmla="*/ 737528 w 889793"/>
                <a:gd name="connsiteY4" fmla="*/ 713575 h 713575"/>
                <a:gd name="connsiteX0" fmla="*/ 737528 w 954007"/>
                <a:gd name="connsiteY0" fmla="*/ 713575 h 713575"/>
                <a:gd name="connsiteX1" fmla="*/ 185641 w 954007"/>
                <a:gd name="connsiteY1" fmla="*/ 713575 h 713575"/>
                <a:gd name="connsiteX2" fmla="*/ 237043 w 954007"/>
                <a:gd name="connsiteY2" fmla="*/ 240143 h 713575"/>
                <a:gd name="connsiteX3" fmla="*/ 710474 w 954007"/>
                <a:gd name="connsiteY3" fmla="*/ 240143 h 713575"/>
                <a:gd name="connsiteX4" fmla="*/ 737528 w 954007"/>
                <a:gd name="connsiteY4" fmla="*/ 713575 h 713575"/>
                <a:gd name="connsiteX0" fmla="*/ 737528 w 946164"/>
                <a:gd name="connsiteY0" fmla="*/ 713575 h 713575"/>
                <a:gd name="connsiteX1" fmla="*/ 185641 w 946164"/>
                <a:gd name="connsiteY1" fmla="*/ 713575 h 713575"/>
                <a:gd name="connsiteX2" fmla="*/ 237043 w 946164"/>
                <a:gd name="connsiteY2" fmla="*/ 240143 h 713575"/>
                <a:gd name="connsiteX3" fmla="*/ 710474 w 946164"/>
                <a:gd name="connsiteY3" fmla="*/ 240143 h 713575"/>
                <a:gd name="connsiteX4" fmla="*/ 737528 w 946164"/>
                <a:gd name="connsiteY4" fmla="*/ 713575 h 713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6164" h="713575">
                  <a:moveTo>
                    <a:pt x="737528" y="713575"/>
                  </a:moveTo>
                  <a:lnTo>
                    <a:pt x="185641" y="713575"/>
                  </a:lnTo>
                  <a:cubicBezTo>
                    <a:pt x="-162443" y="547647"/>
                    <a:pt x="52179" y="213992"/>
                    <a:pt x="237043" y="240143"/>
                  </a:cubicBezTo>
                  <a:cubicBezTo>
                    <a:pt x="267703" y="-114254"/>
                    <a:pt x="728511" y="-43916"/>
                    <a:pt x="710474" y="240143"/>
                  </a:cubicBezTo>
                  <a:cubicBezTo>
                    <a:pt x="960266" y="224813"/>
                    <a:pt x="1072086" y="634218"/>
                    <a:pt x="737528" y="713575"/>
                  </a:cubicBezTo>
                  <a:close/>
                </a:path>
              </a:pathLst>
            </a:custGeom>
            <a:solidFill>
              <a:schemeClr val="tx1"/>
            </a:solidFill>
            <a:ln w="38100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lIns="101456" tIns="50729" rIns="101456" bIns="50729" rtlCol="0" anchor="ctr"/>
            <a:lstStyle/>
            <a:p>
              <a:pPr algn="ctr" defTabSz="1014582">
                <a:defRPr/>
              </a:pPr>
              <a:endParaRPr lang="en-US" sz="2220" kern="0">
                <a:solidFill>
                  <a:sysClr val="window" lastClr="FFFFFF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  <a:sym typeface="HP Simplified"/>
              </a:endParaRPr>
            </a:p>
          </p:txBody>
        </p:sp>
        <p:sp>
          <p:nvSpPr>
            <p:cNvPr id="9" name="Freeform 380">
              <a:extLst>
                <a:ext uri="{FF2B5EF4-FFF2-40B4-BE49-F238E27FC236}">
                  <a16:creationId xmlns:a16="http://schemas.microsoft.com/office/drawing/2014/main" xmlns="" id="{AFC95B50-3BAF-4414-A8F8-6C2344881AF4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1524489" y="493017"/>
              <a:ext cx="608870" cy="459195"/>
            </a:xfrm>
            <a:custGeom>
              <a:avLst/>
              <a:gdLst>
                <a:gd name="connsiteX0" fmla="*/ 551887 w 551887"/>
                <a:gd name="connsiteY0" fmla="*/ 473432 h 473432"/>
                <a:gd name="connsiteX1" fmla="*/ 0 w 551887"/>
                <a:gd name="connsiteY1" fmla="*/ 473432 h 473432"/>
                <a:gd name="connsiteX2" fmla="*/ 51402 w 551887"/>
                <a:gd name="connsiteY2" fmla="*/ 0 h 473432"/>
                <a:gd name="connsiteX3" fmla="*/ 524833 w 551887"/>
                <a:gd name="connsiteY3" fmla="*/ 0 h 473432"/>
                <a:gd name="connsiteX4" fmla="*/ 551887 w 551887"/>
                <a:gd name="connsiteY4" fmla="*/ 473432 h 473432"/>
                <a:gd name="connsiteX0" fmla="*/ 721634 w 721634"/>
                <a:gd name="connsiteY0" fmla="*/ 473432 h 473432"/>
                <a:gd name="connsiteX1" fmla="*/ 169747 w 721634"/>
                <a:gd name="connsiteY1" fmla="*/ 473432 h 473432"/>
                <a:gd name="connsiteX2" fmla="*/ 221149 w 721634"/>
                <a:gd name="connsiteY2" fmla="*/ 0 h 473432"/>
                <a:gd name="connsiteX3" fmla="*/ 694580 w 721634"/>
                <a:gd name="connsiteY3" fmla="*/ 0 h 473432"/>
                <a:gd name="connsiteX4" fmla="*/ 721634 w 721634"/>
                <a:gd name="connsiteY4" fmla="*/ 473432 h 473432"/>
                <a:gd name="connsiteX0" fmla="*/ 761161 w 761161"/>
                <a:gd name="connsiteY0" fmla="*/ 474811 h 474811"/>
                <a:gd name="connsiteX1" fmla="*/ 209274 w 761161"/>
                <a:gd name="connsiteY1" fmla="*/ 474811 h 474811"/>
                <a:gd name="connsiteX2" fmla="*/ 260676 w 761161"/>
                <a:gd name="connsiteY2" fmla="*/ 1379 h 474811"/>
                <a:gd name="connsiteX3" fmla="*/ 734107 w 761161"/>
                <a:gd name="connsiteY3" fmla="*/ 1379 h 474811"/>
                <a:gd name="connsiteX4" fmla="*/ 761161 w 761161"/>
                <a:gd name="connsiteY4" fmla="*/ 474811 h 474811"/>
                <a:gd name="connsiteX0" fmla="*/ 680396 w 680396"/>
                <a:gd name="connsiteY0" fmla="*/ 474639 h 474639"/>
                <a:gd name="connsiteX1" fmla="*/ 128509 w 680396"/>
                <a:gd name="connsiteY1" fmla="*/ 474639 h 474639"/>
                <a:gd name="connsiteX2" fmla="*/ 179911 w 680396"/>
                <a:gd name="connsiteY2" fmla="*/ 1207 h 474639"/>
                <a:gd name="connsiteX3" fmla="*/ 653342 w 680396"/>
                <a:gd name="connsiteY3" fmla="*/ 1207 h 474639"/>
                <a:gd name="connsiteX4" fmla="*/ 680396 w 680396"/>
                <a:gd name="connsiteY4" fmla="*/ 474639 h 474639"/>
                <a:gd name="connsiteX0" fmla="*/ 737528 w 737528"/>
                <a:gd name="connsiteY0" fmla="*/ 474883 h 474883"/>
                <a:gd name="connsiteX1" fmla="*/ 185641 w 737528"/>
                <a:gd name="connsiteY1" fmla="*/ 474883 h 474883"/>
                <a:gd name="connsiteX2" fmla="*/ 237043 w 737528"/>
                <a:gd name="connsiteY2" fmla="*/ 1451 h 474883"/>
                <a:gd name="connsiteX3" fmla="*/ 710474 w 737528"/>
                <a:gd name="connsiteY3" fmla="*/ 1451 h 474883"/>
                <a:gd name="connsiteX4" fmla="*/ 737528 w 737528"/>
                <a:gd name="connsiteY4" fmla="*/ 474883 h 474883"/>
                <a:gd name="connsiteX0" fmla="*/ 737528 w 737528"/>
                <a:gd name="connsiteY0" fmla="*/ 580442 h 580442"/>
                <a:gd name="connsiteX1" fmla="*/ 185641 w 737528"/>
                <a:gd name="connsiteY1" fmla="*/ 580442 h 580442"/>
                <a:gd name="connsiteX2" fmla="*/ 237043 w 737528"/>
                <a:gd name="connsiteY2" fmla="*/ 107010 h 580442"/>
                <a:gd name="connsiteX3" fmla="*/ 710474 w 737528"/>
                <a:gd name="connsiteY3" fmla="*/ 107010 h 580442"/>
                <a:gd name="connsiteX4" fmla="*/ 737528 w 737528"/>
                <a:gd name="connsiteY4" fmla="*/ 580442 h 580442"/>
                <a:gd name="connsiteX0" fmla="*/ 737528 w 737528"/>
                <a:gd name="connsiteY0" fmla="*/ 698619 h 698619"/>
                <a:gd name="connsiteX1" fmla="*/ 185641 w 737528"/>
                <a:gd name="connsiteY1" fmla="*/ 698619 h 698619"/>
                <a:gd name="connsiteX2" fmla="*/ 237043 w 737528"/>
                <a:gd name="connsiteY2" fmla="*/ 225187 h 698619"/>
                <a:gd name="connsiteX3" fmla="*/ 710474 w 737528"/>
                <a:gd name="connsiteY3" fmla="*/ 225187 h 698619"/>
                <a:gd name="connsiteX4" fmla="*/ 737528 w 737528"/>
                <a:gd name="connsiteY4" fmla="*/ 698619 h 698619"/>
                <a:gd name="connsiteX0" fmla="*/ 737528 w 737528"/>
                <a:gd name="connsiteY0" fmla="*/ 713575 h 713575"/>
                <a:gd name="connsiteX1" fmla="*/ 185641 w 737528"/>
                <a:gd name="connsiteY1" fmla="*/ 713575 h 713575"/>
                <a:gd name="connsiteX2" fmla="*/ 237043 w 737528"/>
                <a:gd name="connsiteY2" fmla="*/ 240143 h 713575"/>
                <a:gd name="connsiteX3" fmla="*/ 710474 w 737528"/>
                <a:gd name="connsiteY3" fmla="*/ 240143 h 713575"/>
                <a:gd name="connsiteX4" fmla="*/ 737528 w 737528"/>
                <a:gd name="connsiteY4" fmla="*/ 713575 h 713575"/>
                <a:gd name="connsiteX0" fmla="*/ 737528 w 889793"/>
                <a:gd name="connsiteY0" fmla="*/ 713575 h 713575"/>
                <a:gd name="connsiteX1" fmla="*/ 185641 w 889793"/>
                <a:gd name="connsiteY1" fmla="*/ 713575 h 713575"/>
                <a:gd name="connsiteX2" fmla="*/ 237043 w 889793"/>
                <a:gd name="connsiteY2" fmla="*/ 240143 h 713575"/>
                <a:gd name="connsiteX3" fmla="*/ 710474 w 889793"/>
                <a:gd name="connsiteY3" fmla="*/ 240143 h 713575"/>
                <a:gd name="connsiteX4" fmla="*/ 737528 w 889793"/>
                <a:gd name="connsiteY4" fmla="*/ 713575 h 713575"/>
                <a:gd name="connsiteX0" fmla="*/ 737528 w 954007"/>
                <a:gd name="connsiteY0" fmla="*/ 713575 h 713575"/>
                <a:gd name="connsiteX1" fmla="*/ 185641 w 954007"/>
                <a:gd name="connsiteY1" fmla="*/ 713575 h 713575"/>
                <a:gd name="connsiteX2" fmla="*/ 237043 w 954007"/>
                <a:gd name="connsiteY2" fmla="*/ 240143 h 713575"/>
                <a:gd name="connsiteX3" fmla="*/ 710474 w 954007"/>
                <a:gd name="connsiteY3" fmla="*/ 240143 h 713575"/>
                <a:gd name="connsiteX4" fmla="*/ 737528 w 954007"/>
                <a:gd name="connsiteY4" fmla="*/ 713575 h 713575"/>
                <a:gd name="connsiteX0" fmla="*/ 737528 w 946164"/>
                <a:gd name="connsiteY0" fmla="*/ 713575 h 713575"/>
                <a:gd name="connsiteX1" fmla="*/ 185641 w 946164"/>
                <a:gd name="connsiteY1" fmla="*/ 713575 h 713575"/>
                <a:gd name="connsiteX2" fmla="*/ 237043 w 946164"/>
                <a:gd name="connsiteY2" fmla="*/ 240143 h 713575"/>
                <a:gd name="connsiteX3" fmla="*/ 710474 w 946164"/>
                <a:gd name="connsiteY3" fmla="*/ 240143 h 713575"/>
                <a:gd name="connsiteX4" fmla="*/ 737528 w 946164"/>
                <a:gd name="connsiteY4" fmla="*/ 713575 h 713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6164" h="713575">
                  <a:moveTo>
                    <a:pt x="737528" y="713575"/>
                  </a:moveTo>
                  <a:lnTo>
                    <a:pt x="185641" y="713575"/>
                  </a:lnTo>
                  <a:cubicBezTo>
                    <a:pt x="-162443" y="547647"/>
                    <a:pt x="52179" y="213992"/>
                    <a:pt x="237043" y="240143"/>
                  </a:cubicBezTo>
                  <a:cubicBezTo>
                    <a:pt x="267703" y="-114254"/>
                    <a:pt x="728511" y="-43916"/>
                    <a:pt x="710474" y="240143"/>
                  </a:cubicBezTo>
                  <a:cubicBezTo>
                    <a:pt x="960266" y="224813"/>
                    <a:pt x="1072086" y="634218"/>
                    <a:pt x="737528" y="713575"/>
                  </a:cubicBezTo>
                  <a:close/>
                </a:path>
              </a:pathLst>
            </a:custGeom>
            <a:solidFill>
              <a:schemeClr val="accent5"/>
            </a:solidFill>
            <a:ln w="9525" cap="flat" cmpd="sng" algn="ctr">
              <a:noFill/>
              <a:prstDash val="solid"/>
            </a:ln>
            <a:effectLst/>
          </p:spPr>
          <p:txBody>
            <a:bodyPr lIns="101456" tIns="50729" rIns="101456" bIns="50729" rtlCol="0" anchor="ctr"/>
            <a:lstStyle/>
            <a:p>
              <a:pPr algn="ctr" defTabSz="1014582">
                <a:defRPr/>
              </a:pPr>
              <a:endParaRPr lang="en-US" sz="2220" kern="0">
                <a:solidFill>
                  <a:sysClr val="window" lastClr="FFFFFF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  <a:sym typeface="HP Simplified"/>
              </a:endParaRPr>
            </a:p>
          </p:txBody>
        </p:sp>
        <p:grpSp>
          <p:nvGrpSpPr>
            <p:cNvPr id="10" name="Group 381">
              <a:extLst>
                <a:ext uri="{FF2B5EF4-FFF2-40B4-BE49-F238E27FC236}">
                  <a16:creationId xmlns:a16="http://schemas.microsoft.com/office/drawing/2014/main" xmlns="" id="{23E0F212-6F83-4AAB-9BCB-1E7C228E3238}"/>
                </a:ext>
              </a:extLst>
            </p:cNvPr>
            <p:cNvGrpSpPr/>
            <p:nvPr>
              <p:custDataLst>
                <p:tags r:id="rId8"/>
              </p:custDataLst>
            </p:nvPr>
          </p:nvGrpSpPr>
          <p:grpSpPr>
            <a:xfrm>
              <a:off x="8223816" y="2744518"/>
              <a:ext cx="686106" cy="914718"/>
              <a:chOff x="18593981" y="3309938"/>
              <a:chExt cx="1818507" cy="2424435"/>
            </a:xfrm>
          </p:grpSpPr>
          <p:sp>
            <p:nvSpPr>
              <p:cNvPr id="134" name="Can 382">
                <a:extLst>
                  <a:ext uri="{FF2B5EF4-FFF2-40B4-BE49-F238E27FC236}">
                    <a16:creationId xmlns:a16="http://schemas.microsoft.com/office/drawing/2014/main" xmlns="" id="{E24610EF-3082-4E22-89CE-4C31161011E0}"/>
                  </a:ext>
                </a:extLst>
              </p:cNvPr>
              <p:cNvSpPr/>
              <p:nvPr/>
            </p:nvSpPr>
            <p:spPr>
              <a:xfrm>
                <a:off x="18593981" y="4870587"/>
                <a:ext cx="1818502" cy="863786"/>
              </a:xfrm>
              <a:prstGeom prst="can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5" name="Oval 383">
                <a:extLst>
                  <a:ext uri="{FF2B5EF4-FFF2-40B4-BE49-F238E27FC236}">
                    <a16:creationId xmlns:a16="http://schemas.microsoft.com/office/drawing/2014/main" xmlns="" id="{445C414B-F9A1-4CD4-A5BC-3389B8DFD75F}"/>
                  </a:ext>
                </a:extLst>
              </p:cNvPr>
              <p:cNvSpPr/>
              <p:nvPr/>
            </p:nvSpPr>
            <p:spPr>
              <a:xfrm>
                <a:off x="18603634" y="4868109"/>
                <a:ext cx="1803632" cy="224952"/>
              </a:xfrm>
              <a:prstGeom prst="ellipse">
                <a:avLst/>
              </a:prstGeom>
              <a:solidFill>
                <a:schemeClr val="accent6"/>
              </a:solidFill>
              <a:ln w="635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6" name="Can 384">
                <a:extLst>
                  <a:ext uri="{FF2B5EF4-FFF2-40B4-BE49-F238E27FC236}">
                    <a16:creationId xmlns:a16="http://schemas.microsoft.com/office/drawing/2014/main" xmlns="" id="{F247AED8-6E4F-4BBC-A6EE-45DFA6DC19C7}"/>
                  </a:ext>
                </a:extLst>
              </p:cNvPr>
              <p:cNvSpPr/>
              <p:nvPr/>
            </p:nvSpPr>
            <p:spPr>
              <a:xfrm>
                <a:off x="18593981" y="4095160"/>
                <a:ext cx="1818502" cy="863786"/>
              </a:xfrm>
              <a:prstGeom prst="can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7" name="Oval 385">
                <a:extLst>
                  <a:ext uri="{FF2B5EF4-FFF2-40B4-BE49-F238E27FC236}">
                    <a16:creationId xmlns:a16="http://schemas.microsoft.com/office/drawing/2014/main" xmlns="" id="{29951F85-50C9-4868-87B8-18CE1D25ED29}"/>
                  </a:ext>
                </a:extLst>
              </p:cNvPr>
              <p:cNvSpPr/>
              <p:nvPr/>
            </p:nvSpPr>
            <p:spPr>
              <a:xfrm>
                <a:off x="18603634" y="4096585"/>
                <a:ext cx="1803632" cy="224952"/>
              </a:xfrm>
              <a:prstGeom prst="ellipse">
                <a:avLst/>
              </a:prstGeom>
              <a:solidFill>
                <a:schemeClr val="accent6"/>
              </a:solidFill>
              <a:ln w="635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8" name="Can 386">
                <a:extLst>
                  <a:ext uri="{FF2B5EF4-FFF2-40B4-BE49-F238E27FC236}">
                    <a16:creationId xmlns:a16="http://schemas.microsoft.com/office/drawing/2014/main" xmlns="" id="{00DB6115-88B4-4834-9A94-AC570DF25082}"/>
                  </a:ext>
                </a:extLst>
              </p:cNvPr>
              <p:cNvSpPr/>
              <p:nvPr/>
            </p:nvSpPr>
            <p:spPr>
              <a:xfrm>
                <a:off x="18593986" y="3318957"/>
                <a:ext cx="1818502" cy="863781"/>
              </a:xfrm>
              <a:prstGeom prst="can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9" name="Oval 387">
                <a:extLst>
                  <a:ext uri="{FF2B5EF4-FFF2-40B4-BE49-F238E27FC236}">
                    <a16:creationId xmlns:a16="http://schemas.microsoft.com/office/drawing/2014/main" xmlns="" id="{D4DCDF01-6B6D-4214-8B10-0779ED1938D2}"/>
                  </a:ext>
                </a:extLst>
              </p:cNvPr>
              <p:cNvSpPr/>
              <p:nvPr/>
            </p:nvSpPr>
            <p:spPr>
              <a:xfrm>
                <a:off x="18603634" y="3309938"/>
                <a:ext cx="1803632" cy="224952"/>
              </a:xfrm>
              <a:prstGeom prst="ellipse">
                <a:avLst/>
              </a:prstGeom>
              <a:solidFill>
                <a:schemeClr val="accent6"/>
              </a:solidFill>
              <a:ln w="6350" cmpd="sng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</p:grpSp>
        <p:grpSp>
          <p:nvGrpSpPr>
            <p:cNvPr id="11" name="Group 388">
              <a:extLst>
                <a:ext uri="{FF2B5EF4-FFF2-40B4-BE49-F238E27FC236}">
                  <a16:creationId xmlns:a16="http://schemas.microsoft.com/office/drawing/2014/main" xmlns="" id="{52AD07D6-B381-466D-963E-28DFD784CFE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1219542" y="2184791"/>
              <a:ext cx="491178" cy="654845"/>
              <a:chOff x="3019193" y="2343068"/>
              <a:chExt cx="846725" cy="1128866"/>
            </a:xfrm>
          </p:grpSpPr>
          <p:sp>
            <p:nvSpPr>
              <p:cNvPr id="128" name="Can 389">
                <a:extLst>
                  <a:ext uri="{FF2B5EF4-FFF2-40B4-BE49-F238E27FC236}">
                    <a16:creationId xmlns:a16="http://schemas.microsoft.com/office/drawing/2014/main" xmlns="" id="{B61D5CE6-3296-48F6-8827-78ED216968CB}"/>
                  </a:ext>
                </a:extLst>
              </p:cNvPr>
              <p:cNvSpPr/>
              <p:nvPr/>
            </p:nvSpPr>
            <p:spPr>
              <a:xfrm>
                <a:off x="3019193" y="3069743"/>
                <a:ext cx="846720" cy="402191"/>
              </a:xfrm>
              <a:prstGeom prst="can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29" name="Oval 390">
                <a:extLst>
                  <a:ext uri="{FF2B5EF4-FFF2-40B4-BE49-F238E27FC236}">
                    <a16:creationId xmlns:a16="http://schemas.microsoft.com/office/drawing/2014/main" xmlns="" id="{B91D2DBD-D5DB-4909-B0C6-4DEE33CD7EA4}"/>
                  </a:ext>
                </a:extLst>
              </p:cNvPr>
              <p:cNvSpPr/>
              <p:nvPr/>
            </p:nvSpPr>
            <p:spPr>
              <a:xfrm>
                <a:off x="3023686" y="3068585"/>
                <a:ext cx="839795" cy="104739"/>
              </a:xfrm>
              <a:prstGeom prst="ellipse">
                <a:avLst/>
              </a:prstGeom>
              <a:solidFill>
                <a:schemeClr val="accent6"/>
              </a:solidFill>
              <a:ln w="635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0" name="Can 391">
                <a:extLst>
                  <a:ext uri="{FF2B5EF4-FFF2-40B4-BE49-F238E27FC236}">
                    <a16:creationId xmlns:a16="http://schemas.microsoft.com/office/drawing/2014/main" xmlns="" id="{8F7BB575-EC01-497D-8750-50FDB84ED94A}"/>
                  </a:ext>
                </a:extLst>
              </p:cNvPr>
              <p:cNvSpPr/>
              <p:nvPr/>
            </p:nvSpPr>
            <p:spPr>
              <a:xfrm>
                <a:off x="3019198" y="2708693"/>
                <a:ext cx="846718" cy="402191"/>
              </a:xfrm>
              <a:prstGeom prst="can">
                <a:avLst/>
              </a:prstGeom>
              <a:solidFill>
                <a:srgbClr val="E21C2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schemeClr val="tx1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1" name="Oval 392">
                <a:extLst>
                  <a:ext uri="{FF2B5EF4-FFF2-40B4-BE49-F238E27FC236}">
                    <a16:creationId xmlns:a16="http://schemas.microsoft.com/office/drawing/2014/main" xmlns="" id="{D6A69DA6-620A-4331-8BFA-27D7E52B211B}"/>
                  </a:ext>
                </a:extLst>
              </p:cNvPr>
              <p:cNvSpPr/>
              <p:nvPr/>
            </p:nvSpPr>
            <p:spPr>
              <a:xfrm>
                <a:off x="3023687" y="2709352"/>
                <a:ext cx="839795" cy="104739"/>
              </a:xfrm>
              <a:prstGeom prst="ellipse">
                <a:avLst/>
              </a:prstGeom>
              <a:solidFill>
                <a:schemeClr val="accent6"/>
              </a:solidFill>
              <a:ln w="635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2" name="Can 393">
                <a:extLst>
                  <a:ext uri="{FF2B5EF4-FFF2-40B4-BE49-F238E27FC236}">
                    <a16:creationId xmlns:a16="http://schemas.microsoft.com/office/drawing/2014/main" xmlns="" id="{F8D5711B-A5B6-43D0-BDFB-33C18864D88D}"/>
                  </a:ext>
                </a:extLst>
              </p:cNvPr>
              <p:cNvSpPr/>
              <p:nvPr/>
            </p:nvSpPr>
            <p:spPr>
              <a:xfrm>
                <a:off x="3019198" y="2347272"/>
                <a:ext cx="846720" cy="402186"/>
              </a:xfrm>
              <a:prstGeom prst="can">
                <a:avLst/>
              </a:prstGeom>
              <a:solidFill>
                <a:schemeClr val="tx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3" name="Oval 394">
                <a:extLst>
                  <a:ext uri="{FF2B5EF4-FFF2-40B4-BE49-F238E27FC236}">
                    <a16:creationId xmlns:a16="http://schemas.microsoft.com/office/drawing/2014/main" xmlns="" id="{00F6882C-2090-4EB3-AF41-0246D171AE89}"/>
                  </a:ext>
                </a:extLst>
              </p:cNvPr>
              <p:cNvSpPr/>
              <p:nvPr/>
            </p:nvSpPr>
            <p:spPr>
              <a:xfrm>
                <a:off x="3023689" y="2343068"/>
                <a:ext cx="839795" cy="104739"/>
              </a:xfrm>
              <a:prstGeom prst="ellipse">
                <a:avLst/>
              </a:prstGeom>
              <a:solidFill>
                <a:schemeClr val="accent6"/>
              </a:solidFill>
              <a:ln w="6350" cmpd="sng">
                <a:solidFill>
                  <a:srgbClr val="0096D6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</p:grpSp>
        <p:grpSp>
          <p:nvGrpSpPr>
            <p:cNvPr id="12" name="Group 395">
              <a:extLst>
                <a:ext uri="{FF2B5EF4-FFF2-40B4-BE49-F238E27FC236}">
                  <a16:creationId xmlns:a16="http://schemas.microsoft.com/office/drawing/2014/main" xmlns="" id="{479645BE-21EC-449F-8493-1E3BC9E9D56F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5492393" y="3611764"/>
              <a:ext cx="606419" cy="589251"/>
              <a:chOff x="6054984" y="688905"/>
              <a:chExt cx="650618" cy="550259"/>
            </a:xfrm>
            <a:solidFill>
              <a:schemeClr val="accent1"/>
            </a:solidFill>
          </p:grpSpPr>
          <p:sp>
            <p:nvSpPr>
              <p:cNvPr id="125" name="Freeform 70">
                <a:extLst>
                  <a:ext uri="{FF2B5EF4-FFF2-40B4-BE49-F238E27FC236}">
                    <a16:creationId xmlns:a16="http://schemas.microsoft.com/office/drawing/2014/main" xmlns="" id="{0DCFAEFF-80CC-4A21-9198-CA0DB0CCB5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24882" y="717481"/>
                <a:ext cx="180720" cy="475132"/>
              </a:xfrm>
              <a:custGeom>
                <a:avLst/>
                <a:gdLst>
                  <a:gd name="T0" fmla="*/ 7 w 30"/>
                  <a:gd name="T1" fmla="*/ 8 h 79"/>
                  <a:gd name="T2" fmla="*/ 15 w 30"/>
                  <a:gd name="T3" fmla="*/ 0 h 79"/>
                  <a:gd name="T4" fmla="*/ 23 w 30"/>
                  <a:gd name="T5" fmla="*/ 8 h 79"/>
                  <a:gd name="T6" fmla="*/ 15 w 30"/>
                  <a:gd name="T7" fmla="*/ 16 h 79"/>
                  <a:gd name="T8" fmla="*/ 7 w 30"/>
                  <a:gd name="T9" fmla="*/ 8 h 79"/>
                  <a:gd name="T10" fmla="*/ 26 w 30"/>
                  <a:gd name="T11" fmla="*/ 20 h 79"/>
                  <a:gd name="T12" fmla="*/ 4 w 30"/>
                  <a:gd name="T13" fmla="*/ 20 h 79"/>
                  <a:gd name="T14" fmla="*/ 0 w 30"/>
                  <a:gd name="T15" fmla="*/ 24 h 79"/>
                  <a:gd name="T16" fmla="*/ 0 w 30"/>
                  <a:gd name="T17" fmla="*/ 45 h 79"/>
                  <a:gd name="T18" fmla="*/ 4 w 30"/>
                  <a:gd name="T19" fmla="*/ 48 h 79"/>
                  <a:gd name="T20" fmla="*/ 7 w 30"/>
                  <a:gd name="T21" fmla="*/ 48 h 79"/>
                  <a:gd name="T22" fmla="*/ 9 w 30"/>
                  <a:gd name="T23" fmla="*/ 78 h 79"/>
                  <a:gd name="T24" fmla="*/ 11 w 30"/>
                  <a:gd name="T25" fmla="*/ 79 h 79"/>
                  <a:gd name="T26" fmla="*/ 20 w 30"/>
                  <a:gd name="T27" fmla="*/ 79 h 79"/>
                  <a:gd name="T28" fmla="*/ 22 w 30"/>
                  <a:gd name="T29" fmla="*/ 78 h 79"/>
                  <a:gd name="T30" fmla="*/ 22 w 30"/>
                  <a:gd name="T31" fmla="*/ 78 h 79"/>
                  <a:gd name="T32" fmla="*/ 24 w 30"/>
                  <a:gd name="T33" fmla="*/ 48 h 79"/>
                  <a:gd name="T34" fmla="*/ 26 w 30"/>
                  <a:gd name="T35" fmla="*/ 48 h 79"/>
                  <a:gd name="T36" fmla="*/ 30 w 30"/>
                  <a:gd name="T37" fmla="*/ 45 h 79"/>
                  <a:gd name="T38" fmla="*/ 30 w 30"/>
                  <a:gd name="T39" fmla="*/ 24 h 79"/>
                  <a:gd name="T40" fmla="*/ 26 w 30"/>
                  <a:gd name="T41" fmla="*/ 2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0" h="79">
                    <a:moveTo>
                      <a:pt x="7" y="8"/>
                    </a:moveTo>
                    <a:cubicBezTo>
                      <a:pt x="7" y="2"/>
                      <a:pt x="9" y="0"/>
                      <a:pt x="15" y="0"/>
                    </a:cubicBezTo>
                    <a:cubicBezTo>
                      <a:pt x="21" y="0"/>
                      <a:pt x="23" y="2"/>
                      <a:pt x="23" y="8"/>
                    </a:cubicBezTo>
                    <a:cubicBezTo>
                      <a:pt x="23" y="14"/>
                      <a:pt x="21" y="16"/>
                      <a:pt x="15" y="16"/>
                    </a:cubicBezTo>
                    <a:cubicBezTo>
                      <a:pt x="9" y="16"/>
                      <a:pt x="7" y="14"/>
                      <a:pt x="7" y="8"/>
                    </a:cubicBezTo>
                    <a:close/>
                    <a:moveTo>
                      <a:pt x="26" y="20"/>
                    </a:move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22"/>
                      <a:pt x="0" y="2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7"/>
                      <a:pt x="2" y="48"/>
                      <a:pt x="4" y="48"/>
                    </a:cubicBezTo>
                    <a:cubicBezTo>
                      <a:pt x="7" y="48"/>
                      <a:pt x="7" y="48"/>
                      <a:pt x="7" y="48"/>
                    </a:cubicBezTo>
                    <a:cubicBezTo>
                      <a:pt x="7" y="55"/>
                      <a:pt x="8" y="74"/>
                      <a:pt x="9" y="78"/>
                    </a:cubicBezTo>
                    <a:cubicBezTo>
                      <a:pt x="9" y="78"/>
                      <a:pt x="10" y="79"/>
                      <a:pt x="11" y="79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21" y="79"/>
                      <a:pt x="22" y="78"/>
                      <a:pt x="22" y="78"/>
                    </a:cubicBezTo>
                    <a:cubicBezTo>
                      <a:pt x="22" y="78"/>
                      <a:pt x="22" y="78"/>
                      <a:pt x="22" y="78"/>
                    </a:cubicBezTo>
                    <a:cubicBezTo>
                      <a:pt x="23" y="74"/>
                      <a:pt x="24" y="55"/>
                      <a:pt x="24" y="48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29" y="48"/>
                      <a:pt x="30" y="47"/>
                      <a:pt x="30" y="45"/>
                    </a:cubicBezTo>
                    <a:cubicBezTo>
                      <a:pt x="30" y="24"/>
                      <a:pt x="30" y="24"/>
                      <a:pt x="30" y="24"/>
                    </a:cubicBezTo>
                    <a:cubicBezTo>
                      <a:pt x="30" y="22"/>
                      <a:pt x="29" y="20"/>
                      <a:pt x="26" y="2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01506" tIns="50752" rIns="101506" bIns="50752" numCol="1" anchor="t" anchorCtr="0" compatLnSpc="1">
                <a:prstTxWarp prst="textNoShape">
                  <a:avLst/>
                </a:prstTxWarp>
              </a:bodyPr>
              <a:lstStyle/>
              <a:p>
                <a:pPr defTabSz="504442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26" name="Freeform 70">
                <a:extLst>
                  <a:ext uri="{FF2B5EF4-FFF2-40B4-BE49-F238E27FC236}">
                    <a16:creationId xmlns:a16="http://schemas.microsoft.com/office/drawing/2014/main" xmlns="" id="{2EB5775F-9522-435D-8B77-D27B3CBD4B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54984" y="720656"/>
                <a:ext cx="180720" cy="475132"/>
              </a:xfrm>
              <a:custGeom>
                <a:avLst/>
                <a:gdLst>
                  <a:gd name="T0" fmla="*/ 7 w 30"/>
                  <a:gd name="T1" fmla="*/ 8 h 79"/>
                  <a:gd name="T2" fmla="*/ 15 w 30"/>
                  <a:gd name="T3" fmla="*/ 0 h 79"/>
                  <a:gd name="T4" fmla="*/ 23 w 30"/>
                  <a:gd name="T5" fmla="*/ 8 h 79"/>
                  <a:gd name="T6" fmla="*/ 15 w 30"/>
                  <a:gd name="T7" fmla="*/ 16 h 79"/>
                  <a:gd name="T8" fmla="*/ 7 w 30"/>
                  <a:gd name="T9" fmla="*/ 8 h 79"/>
                  <a:gd name="T10" fmla="*/ 26 w 30"/>
                  <a:gd name="T11" fmla="*/ 20 h 79"/>
                  <a:gd name="T12" fmla="*/ 4 w 30"/>
                  <a:gd name="T13" fmla="*/ 20 h 79"/>
                  <a:gd name="T14" fmla="*/ 0 w 30"/>
                  <a:gd name="T15" fmla="*/ 24 h 79"/>
                  <a:gd name="T16" fmla="*/ 0 w 30"/>
                  <a:gd name="T17" fmla="*/ 45 h 79"/>
                  <a:gd name="T18" fmla="*/ 4 w 30"/>
                  <a:gd name="T19" fmla="*/ 48 h 79"/>
                  <a:gd name="T20" fmla="*/ 7 w 30"/>
                  <a:gd name="T21" fmla="*/ 48 h 79"/>
                  <a:gd name="T22" fmla="*/ 9 w 30"/>
                  <a:gd name="T23" fmla="*/ 78 h 79"/>
                  <a:gd name="T24" fmla="*/ 11 w 30"/>
                  <a:gd name="T25" fmla="*/ 79 h 79"/>
                  <a:gd name="T26" fmla="*/ 20 w 30"/>
                  <a:gd name="T27" fmla="*/ 79 h 79"/>
                  <a:gd name="T28" fmla="*/ 22 w 30"/>
                  <a:gd name="T29" fmla="*/ 78 h 79"/>
                  <a:gd name="T30" fmla="*/ 22 w 30"/>
                  <a:gd name="T31" fmla="*/ 78 h 79"/>
                  <a:gd name="T32" fmla="*/ 24 w 30"/>
                  <a:gd name="T33" fmla="*/ 48 h 79"/>
                  <a:gd name="T34" fmla="*/ 26 w 30"/>
                  <a:gd name="T35" fmla="*/ 48 h 79"/>
                  <a:gd name="T36" fmla="*/ 30 w 30"/>
                  <a:gd name="T37" fmla="*/ 45 h 79"/>
                  <a:gd name="T38" fmla="*/ 30 w 30"/>
                  <a:gd name="T39" fmla="*/ 24 h 79"/>
                  <a:gd name="T40" fmla="*/ 26 w 30"/>
                  <a:gd name="T41" fmla="*/ 2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0" h="79">
                    <a:moveTo>
                      <a:pt x="7" y="8"/>
                    </a:moveTo>
                    <a:cubicBezTo>
                      <a:pt x="7" y="2"/>
                      <a:pt x="9" y="0"/>
                      <a:pt x="15" y="0"/>
                    </a:cubicBezTo>
                    <a:cubicBezTo>
                      <a:pt x="21" y="0"/>
                      <a:pt x="23" y="2"/>
                      <a:pt x="23" y="8"/>
                    </a:cubicBezTo>
                    <a:cubicBezTo>
                      <a:pt x="23" y="14"/>
                      <a:pt x="21" y="16"/>
                      <a:pt x="15" y="16"/>
                    </a:cubicBezTo>
                    <a:cubicBezTo>
                      <a:pt x="9" y="16"/>
                      <a:pt x="7" y="14"/>
                      <a:pt x="7" y="8"/>
                    </a:cubicBezTo>
                    <a:close/>
                    <a:moveTo>
                      <a:pt x="26" y="20"/>
                    </a:move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22"/>
                      <a:pt x="0" y="2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7"/>
                      <a:pt x="2" y="48"/>
                      <a:pt x="4" y="48"/>
                    </a:cubicBezTo>
                    <a:cubicBezTo>
                      <a:pt x="7" y="48"/>
                      <a:pt x="7" y="48"/>
                      <a:pt x="7" y="48"/>
                    </a:cubicBezTo>
                    <a:cubicBezTo>
                      <a:pt x="7" y="55"/>
                      <a:pt x="8" y="74"/>
                      <a:pt x="9" y="78"/>
                    </a:cubicBezTo>
                    <a:cubicBezTo>
                      <a:pt x="9" y="78"/>
                      <a:pt x="10" y="79"/>
                      <a:pt x="11" y="79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21" y="79"/>
                      <a:pt x="22" y="78"/>
                      <a:pt x="22" y="78"/>
                    </a:cubicBezTo>
                    <a:cubicBezTo>
                      <a:pt x="22" y="78"/>
                      <a:pt x="22" y="78"/>
                      <a:pt x="22" y="78"/>
                    </a:cubicBezTo>
                    <a:cubicBezTo>
                      <a:pt x="23" y="74"/>
                      <a:pt x="24" y="55"/>
                      <a:pt x="24" y="48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29" y="48"/>
                      <a:pt x="30" y="47"/>
                      <a:pt x="30" y="45"/>
                    </a:cubicBezTo>
                    <a:cubicBezTo>
                      <a:pt x="30" y="24"/>
                      <a:pt x="30" y="24"/>
                      <a:pt x="30" y="24"/>
                    </a:cubicBezTo>
                    <a:cubicBezTo>
                      <a:pt x="30" y="22"/>
                      <a:pt x="29" y="20"/>
                      <a:pt x="26" y="2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01506" tIns="50752" rIns="101506" bIns="50752" numCol="1" anchor="t" anchorCtr="0" compatLnSpc="1">
                <a:prstTxWarp prst="textNoShape">
                  <a:avLst/>
                </a:prstTxWarp>
              </a:bodyPr>
              <a:lstStyle/>
              <a:p>
                <a:pPr defTabSz="504442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27" name="Freeform 70">
                <a:extLst>
                  <a:ext uri="{FF2B5EF4-FFF2-40B4-BE49-F238E27FC236}">
                    <a16:creationId xmlns:a16="http://schemas.microsoft.com/office/drawing/2014/main" xmlns="" id="{3D6CA52C-D058-4F9E-9349-AAE5845A82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75643" y="688905"/>
                <a:ext cx="209295" cy="550259"/>
              </a:xfrm>
              <a:custGeom>
                <a:avLst/>
                <a:gdLst>
                  <a:gd name="T0" fmla="*/ 7 w 30"/>
                  <a:gd name="T1" fmla="*/ 8 h 79"/>
                  <a:gd name="T2" fmla="*/ 15 w 30"/>
                  <a:gd name="T3" fmla="*/ 0 h 79"/>
                  <a:gd name="T4" fmla="*/ 23 w 30"/>
                  <a:gd name="T5" fmla="*/ 8 h 79"/>
                  <a:gd name="T6" fmla="*/ 15 w 30"/>
                  <a:gd name="T7" fmla="*/ 16 h 79"/>
                  <a:gd name="T8" fmla="*/ 7 w 30"/>
                  <a:gd name="T9" fmla="*/ 8 h 79"/>
                  <a:gd name="T10" fmla="*/ 26 w 30"/>
                  <a:gd name="T11" fmla="*/ 20 h 79"/>
                  <a:gd name="T12" fmla="*/ 4 w 30"/>
                  <a:gd name="T13" fmla="*/ 20 h 79"/>
                  <a:gd name="T14" fmla="*/ 0 w 30"/>
                  <a:gd name="T15" fmla="*/ 24 h 79"/>
                  <a:gd name="T16" fmla="*/ 0 w 30"/>
                  <a:gd name="T17" fmla="*/ 45 h 79"/>
                  <a:gd name="T18" fmla="*/ 4 w 30"/>
                  <a:gd name="T19" fmla="*/ 48 h 79"/>
                  <a:gd name="T20" fmla="*/ 7 w 30"/>
                  <a:gd name="T21" fmla="*/ 48 h 79"/>
                  <a:gd name="T22" fmla="*/ 9 w 30"/>
                  <a:gd name="T23" fmla="*/ 78 h 79"/>
                  <a:gd name="T24" fmla="*/ 11 w 30"/>
                  <a:gd name="T25" fmla="*/ 79 h 79"/>
                  <a:gd name="T26" fmla="*/ 20 w 30"/>
                  <a:gd name="T27" fmla="*/ 79 h 79"/>
                  <a:gd name="T28" fmla="*/ 22 w 30"/>
                  <a:gd name="T29" fmla="*/ 78 h 79"/>
                  <a:gd name="T30" fmla="*/ 22 w 30"/>
                  <a:gd name="T31" fmla="*/ 78 h 79"/>
                  <a:gd name="T32" fmla="*/ 24 w 30"/>
                  <a:gd name="T33" fmla="*/ 48 h 79"/>
                  <a:gd name="T34" fmla="*/ 26 w 30"/>
                  <a:gd name="T35" fmla="*/ 48 h 79"/>
                  <a:gd name="T36" fmla="*/ 30 w 30"/>
                  <a:gd name="T37" fmla="*/ 45 h 79"/>
                  <a:gd name="T38" fmla="*/ 30 w 30"/>
                  <a:gd name="T39" fmla="*/ 24 h 79"/>
                  <a:gd name="T40" fmla="*/ 26 w 30"/>
                  <a:gd name="T41" fmla="*/ 2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0" h="79">
                    <a:moveTo>
                      <a:pt x="7" y="8"/>
                    </a:moveTo>
                    <a:cubicBezTo>
                      <a:pt x="7" y="2"/>
                      <a:pt x="9" y="0"/>
                      <a:pt x="15" y="0"/>
                    </a:cubicBezTo>
                    <a:cubicBezTo>
                      <a:pt x="21" y="0"/>
                      <a:pt x="23" y="2"/>
                      <a:pt x="23" y="8"/>
                    </a:cubicBezTo>
                    <a:cubicBezTo>
                      <a:pt x="23" y="14"/>
                      <a:pt x="21" y="16"/>
                      <a:pt x="15" y="16"/>
                    </a:cubicBezTo>
                    <a:cubicBezTo>
                      <a:pt x="9" y="16"/>
                      <a:pt x="7" y="14"/>
                      <a:pt x="7" y="8"/>
                    </a:cubicBezTo>
                    <a:close/>
                    <a:moveTo>
                      <a:pt x="26" y="20"/>
                    </a:move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22"/>
                      <a:pt x="0" y="2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7"/>
                      <a:pt x="2" y="48"/>
                      <a:pt x="4" y="48"/>
                    </a:cubicBezTo>
                    <a:cubicBezTo>
                      <a:pt x="7" y="48"/>
                      <a:pt x="7" y="48"/>
                      <a:pt x="7" y="48"/>
                    </a:cubicBezTo>
                    <a:cubicBezTo>
                      <a:pt x="7" y="55"/>
                      <a:pt x="8" y="74"/>
                      <a:pt x="9" y="78"/>
                    </a:cubicBezTo>
                    <a:cubicBezTo>
                      <a:pt x="9" y="78"/>
                      <a:pt x="10" y="79"/>
                      <a:pt x="11" y="79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21" y="79"/>
                      <a:pt x="22" y="78"/>
                      <a:pt x="22" y="78"/>
                    </a:cubicBezTo>
                    <a:cubicBezTo>
                      <a:pt x="22" y="78"/>
                      <a:pt x="22" y="78"/>
                      <a:pt x="22" y="78"/>
                    </a:cubicBezTo>
                    <a:cubicBezTo>
                      <a:pt x="23" y="74"/>
                      <a:pt x="24" y="55"/>
                      <a:pt x="24" y="48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29" y="48"/>
                      <a:pt x="30" y="47"/>
                      <a:pt x="30" y="45"/>
                    </a:cubicBezTo>
                    <a:cubicBezTo>
                      <a:pt x="30" y="24"/>
                      <a:pt x="30" y="24"/>
                      <a:pt x="30" y="24"/>
                    </a:cubicBezTo>
                    <a:cubicBezTo>
                      <a:pt x="30" y="22"/>
                      <a:pt x="29" y="20"/>
                      <a:pt x="26" y="2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01506" tIns="50752" rIns="101506" bIns="50752" numCol="1" anchor="t" anchorCtr="0" compatLnSpc="1">
                <a:prstTxWarp prst="textNoShape">
                  <a:avLst/>
                </a:prstTxWarp>
              </a:bodyPr>
              <a:lstStyle/>
              <a:p>
                <a:pPr defTabSz="504442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</p:grpSp>
        <p:sp>
          <p:nvSpPr>
            <p:cNvPr id="13" name="Rounded Rectangle 400">
              <a:extLst>
                <a:ext uri="{FF2B5EF4-FFF2-40B4-BE49-F238E27FC236}">
                  <a16:creationId xmlns:a16="http://schemas.microsoft.com/office/drawing/2014/main" xmlns="" id="{D9C77A60-AFC4-4AB5-AC6A-9AAF1B6B99F6}"/>
                </a:ext>
              </a:extLst>
            </p:cNvPr>
            <p:cNvSpPr/>
            <p:nvPr/>
          </p:nvSpPr>
          <p:spPr>
            <a:xfrm>
              <a:off x="6975668" y="3864696"/>
              <a:ext cx="500670" cy="442752"/>
            </a:xfrm>
            <a:prstGeom prst="roundRect">
              <a:avLst>
                <a:gd name="adj" fmla="val 10785"/>
              </a:avLst>
            </a:prstGeom>
            <a:solidFill>
              <a:srgbClr val="66666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04442"/>
              <a:endParaRPr lang="en-US" sz="1998">
                <a:solidFill>
                  <a:prstClr val="white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14" name="Rounded Rectangle 401">
              <a:extLst>
                <a:ext uri="{FF2B5EF4-FFF2-40B4-BE49-F238E27FC236}">
                  <a16:creationId xmlns:a16="http://schemas.microsoft.com/office/drawing/2014/main" xmlns="" id="{FFBA5A85-C82D-40BB-A9B7-1FBE9A53A372}"/>
                </a:ext>
              </a:extLst>
            </p:cNvPr>
            <p:cNvSpPr/>
            <p:nvPr/>
          </p:nvSpPr>
          <p:spPr>
            <a:xfrm>
              <a:off x="7019113" y="3919750"/>
              <a:ext cx="413776" cy="332646"/>
            </a:xfrm>
            <a:prstGeom prst="roundRect">
              <a:avLst>
                <a:gd name="adj" fmla="val 6040"/>
              </a:avLst>
            </a:prstGeom>
            <a:solidFill>
              <a:schemeClr val="bg1">
                <a:lumMod val="85000"/>
              </a:schemeClr>
            </a:solidFill>
            <a:ln w="19050" cmpd="sng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04442"/>
              <a:endParaRPr lang="en-US" sz="1998">
                <a:solidFill>
                  <a:prstClr val="white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15" name="Rounded Rectangle 402">
              <a:extLst>
                <a:ext uri="{FF2B5EF4-FFF2-40B4-BE49-F238E27FC236}">
                  <a16:creationId xmlns:a16="http://schemas.microsoft.com/office/drawing/2014/main" xmlns="" id="{210CD9FA-B56C-4918-A1F9-E6F8FD90F174}"/>
                </a:ext>
              </a:extLst>
            </p:cNvPr>
            <p:cNvSpPr/>
            <p:nvPr/>
          </p:nvSpPr>
          <p:spPr>
            <a:xfrm>
              <a:off x="7105943" y="4332260"/>
              <a:ext cx="247324" cy="33392"/>
            </a:xfrm>
            <a:prstGeom prst="roundRect">
              <a:avLst>
                <a:gd name="adj" fmla="val 50000"/>
              </a:avLst>
            </a:prstGeom>
            <a:solidFill>
              <a:srgbClr val="66666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04442"/>
              <a:endParaRPr lang="en-US" sz="1998">
                <a:solidFill>
                  <a:prstClr val="white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grpSp>
          <p:nvGrpSpPr>
            <p:cNvPr id="16" name="Group 407">
              <a:extLst>
                <a:ext uri="{FF2B5EF4-FFF2-40B4-BE49-F238E27FC236}">
                  <a16:creationId xmlns:a16="http://schemas.microsoft.com/office/drawing/2014/main" xmlns="" id="{799E9AF1-D4F3-4A5E-A957-576980A58792}"/>
                </a:ext>
              </a:extLst>
            </p:cNvPr>
            <p:cNvGrpSpPr/>
            <p:nvPr>
              <p:custDataLst>
                <p:tags r:id="rId11"/>
              </p:custDataLst>
            </p:nvPr>
          </p:nvGrpSpPr>
          <p:grpSpPr>
            <a:xfrm>
              <a:off x="2614519" y="1960239"/>
              <a:ext cx="276193" cy="467393"/>
              <a:chOff x="7713918" y="1670381"/>
              <a:chExt cx="207766" cy="351597"/>
            </a:xfrm>
          </p:grpSpPr>
          <p:sp>
            <p:nvSpPr>
              <p:cNvPr id="122" name="Rounded Rectangle 408">
                <a:extLst>
                  <a:ext uri="{FF2B5EF4-FFF2-40B4-BE49-F238E27FC236}">
                    <a16:creationId xmlns:a16="http://schemas.microsoft.com/office/drawing/2014/main" xmlns="" id="{C651B986-5F60-49C6-8627-2EA7C3AE346B}"/>
                  </a:ext>
                </a:extLst>
              </p:cNvPr>
              <p:cNvSpPr/>
              <p:nvPr/>
            </p:nvSpPr>
            <p:spPr>
              <a:xfrm>
                <a:off x="7713918" y="1670381"/>
                <a:ext cx="207766" cy="351597"/>
              </a:xfrm>
              <a:prstGeom prst="roundRect">
                <a:avLst>
                  <a:gd name="adj" fmla="val 9910"/>
                </a:avLst>
              </a:prstGeom>
              <a:solidFill>
                <a:schemeClr val="tx1"/>
              </a:solidFill>
              <a:ln w="381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23" name="Rounded Rectangle 409">
                <a:extLst>
                  <a:ext uri="{FF2B5EF4-FFF2-40B4-BE49-F238E27FC236}">
                    <a16:creationId xmlns:a16="http://schemas.microsoft.com/office/drawing/2014/main" xmlns="" id="{1D979FD7-463A-4268-9A95-5704B6639812}"/>
                  </a:ext>
                </a:extLst>
              </p:cNvPr>
              <p:cNvSpPr/>
              <p:nvPr/>
            </p:nvSpPr>
            <p:spPr>
              <a:xfrm>
                <a:off x="7779618" y="1730215"/>
                <a:ext cx="76370" cy="18568"/>
              </a:xfrm>
              <a:prstGeom prst="roundRect">
                <a:avLst>
                  <a:gd name="adj" fmla="val 50000"/>
                </a:avLst>
              </a:prstGeom>
              <a:solidFill>
                <a:srgbClr val="FFFFF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24" name="Rounded Rectangle 410">
                <a:extLst>
                  <a:ext uri="{FF2B5EF4-FFF2-40B4-BE49-F238E27FC236}">
                    <a16:creationId xmlns:a16="http://schemas.microsoft.com/office/drawing/2014/main" xmlns="" id="{4599800B-3C89-4D83-812A-FAC2BAC1D7F9}"/>
                  </a:ext>
                </a:extLst>
              </p:cNvPr>
              <p:cNvSpPr/>
              <p:nvPr/>
            </p:nvSpPr>
            <p:spPr>
              <a:xfrm>
                <a:off x="7739761" y="1700893"/>
                <a:ext cx="156097" cy="290576"/>
              </a:xfrm>
              <a:prstGeom prst="roundRect">
                <a:avLst>
                  <a:gd name="adj" fmla="val 9910"/>
                </a:avLst>
              </a:prstGeom>
              <a:noFill/>
              <a:ln w="1270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</p:grpSp>
        <p:grpSp>
          <p:nvGrpSpPr>
            <p:cNvPr id="17" name="Group 414">
              <a:extLst>
                <a:ext uri="{FF2B5EF4-FFF2-40B4-BE49-F238E27FC236}">
                  <a16:creationId xmlns:a16="http://schemas.microsoft.com/office/drawing/2014/main" xmlns="" id="{E27A796F-ADAD-42F0-977B-DB641C350ECF}"/>
                </a:ext>
              </a:extLst>
            </p:cNvPr>
            <p:cNvGrpSpPr/>
            <p:nvPr>
              <p:custDataLst>
                <p:tags r:id="rId12"/>
              </p:custDataLst>
            </p:nvPr>
          </p:nvGrpSpPr>
          <p:grpSpPr>
            <a:xfrm>
              <a:off x="1670287" y="3334509"/>
              <a:ext cx="744489" cy="732697"/>
              <a:chOff x="5272388" y="2031369"/>
              <a:chExt cx="1283395" cy="1263071"/>
            </a:xfrm>
          </p:grpSpPr>
          <p:sp>
            <p:nvSpPr>
              <p:cNvPr id="111" name="Oval 415">
                <a:extLst>
                  <a:ext uri="{FF2B5EF4-FFF2-40B4-BE49-F238E27FC236}">
                    <a16:creationId xmlns:a16="http://schemas.microsoft.com/office/drawing/2014/main" xmlns="" id="{CF2B96DB-7ED4-43E6-8CE9-FF8D661F540B}"/>
                  </a:ext>
                </a:extLst>
              </p:cNvPr>
              <p:cNvSpPr/>
              <p:nvPr/>
            </p:nvSpPr>
            <p:spPr>
              <a:xfrm>
                <a:off x="5363687" y="2112522"/>
                <a:ext cx="1100761" cy="1100767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12" name="Oval 416">
                <a:extLst>
                  <a:ext uri="{FF2B5EF4-FFF2-40B4-BE49-F238E27FC236}">
                    <a16:creationId xmlns:a16="http://schemas.microsoft.com/office/drawing/2014/main" xmlns="" id="{1DD721F3-26EE-402C-8155-49D9FB49085F}"/>
                  </a:ext>
                </a:extLst>
              </p:cNvPr>
              <p:cNvSpPr/>
              <p:nvPr/>
            </p:nvSpPr>
            <p:spPr>
              <a:xfrm>
                <a:off x="5631635" y="2380472"/>
                <a:ext cx="564864" cy="564868"/>
              </a:xfrm>
              <a:prstGeom prst="ellipse">
                <a:avLst/>
              </a:prstGeom>
              <a:solidFill>
                <a:srgbClr val="E21C2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grpSp>
            <p:nvGrpSpPr>
              <p:cNvPr id="113" name="Group 417">
                <a:extLst>
                  <a:ext uri="{FF2B5EF4-FFF2-40B4-BE49-F238E27FC236}">
                    <a16:creationId xmlns:a16="http://schemas.microsoft.com/office/drawing/2014/main" xmlns="" id="{71ACF4CC-8F45-4D62-978B-1B6ACA8BD336}"/>
                  </a:ext>
                </a:extLst>
              </p:cNvPr>
              <p:cNvGrpSpPr/>
              <p:nvPr/>
            </p:nvGrpSpPr>
            <p:grpSpPr>
              <a:xfrm>
                <a:off x="5722278" y="2031369"/>
                <a:ext cx="383612" cy="1263071"/>
                <a:chOff x="3411942" y="4006410"/>
                <a:chExt cx="119840" cy="394580"/>
              </a:xfrm>
            </p:grpSpPr>
            <p:sp>
              <p:nvSpPr>
                <p:cNvPr id="120" name="Trapezoid 424">
                  <a:extLst>
                    <a:ext uri="{FF2B5EF4-FFF2-40B4-BE49-F238E27FC236}">
                      <a16:creationId xmlns:a16="http://schemas.microsoft.com/office/drawing/2014/main" xmlns="" id="{5C0EB7F8-3F62-49BD-9B8C-AE47F7A872F4}"/>
                    </a:ext>
                  </a:extLst>
                </p:cNvPr>
                <p:cNvSpPr/>
                <p:nvPr/>
              </p:nvSpPr>
              <p:spPr>
                <a:xfrm>
                  <a:off x="3411942" y="4006410"/>
                  <a:ext cx="119840" cy="61205"/>
                </a:xfrm>
                <a:prstGeom prst="trapezoid">
                  <a:avLst/>
                </a:prstGeom>
                <a:solidFill>
                  <a:schemeClr val="bg2"/>
                </a:solidFill>
                <a:ln w="19050" cap="rnd" cmpd="sng">
                  <a:solidFill>
                    <a:schemeClr val="accent5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121" name="Trapezoid 425">
                  <a:extLst>
                    <a:ext uri="{FF2B5EF4-FFF2-40B4-BE49-F238E27FC236}">
                      <a16:creationId xmlns:a16="http://schemas.microsoft.com/office/drawing/2014/main" xmlns="" id="{BEDBD3E8-CD14-49E5-8CF2-5A3D5DDFA9FB}"/>
                    </a:ext>
                  </a:extLst>
                </p:cNvPr>
                <p:cNvSpPr/>
                <p:nvPr/>
              </p:nvSpPr>
              <p:spPr>
                <a:xfrm flipV="1">
                  <a:off x="3411942" y="4339785"/>
                  <a:ext cx="119840" cy="61205"/>
                </a:xfrm>
                <a:prstGeom prst="trapezoid">
                  <a:avLst/>
                </a:prstGeom>
                <a:solidFill>
                  <a:schemeClr val="bg2"/>
                </a:solidFill>
                <a:ln w="19050" cap="rnd" cmpd="sng">
                  <a:solidFill>
                    <a:schemeClr val="accent5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114" name="Group 418">
                <a:extLst>
                  <a:ext uri="{FF2B5EF4-FFF2-40B4-BE49-F238E27FC236}">
                    <a16:creationId xmlns:a16="http://schemas.microsoft.com/office/drawing/2014/main" xmlns="" id="{F4BCB395-4A3A-4F07-900F-7844DC537FF9}"/>
                  </a:ext>
                </a:extLst>
              </p:cNvPr>
              <p:cNvGrpSpPr/>
              <p:nvPr/>
            </p:nvGrpSpPr>
            <p:grpSpPr>
              <a:xfrm rot="1800000">
                <a:off x="5272388" y="2471094"/>
                <a:ext cx="1283395" cy="383617"/>
                <a:chOff x="3266635" y="4142194"/>
                <a:chExt cx="400931" cy="119841"/>
              </a:xfrm>
            </p:grpSpPr>
            <p:sp>
              <p:nvSpPr>
                <p:cNvPr id="118" name="Trapezoid 422">
                  <a:extLst>
                    <a:ext uri="{FF2B5EF4-FFF2-40B4-BE49-F238E27FC236}">
                      <a16:creationId xmlns:a16="http://schemas.microsoft.com/office/drawing/2014/main" xmlns="" id="{6C044CD1-FF5F-43D5-A6FA-BAA266CCA671}"/>
                    </a:ext>
                  </a:extLst>
                </p:cNvPr>
                <p:cNvSpPr/>
                <p:nvPr/>
              </p:nvSpPr>
              <p:spPr>
                <a:xfrm rot="5400000" flipV="1">
                  <a:off x="3237318" y="4171511"/>
                  <a:ext cx="119840" cy="61205"/>
                </a:xfrm>
                <a:prstGeom prst="trapezoid">
                  <a:avLst/>
                </a:prstGeom>
                <a:solidFill>
                  <a:schemeClr val="bg2"/>
                </a:solidFill>
                <a:ln w="19050" cap="rnd" cmpd="sng">
                  <a:solidFill>
                    <a:schemeClr val="accent5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119" name="Trapezoid 423">
                  <a:extLst>
                    <a:ext uri="{FF2B5EF4-FFF2-40B4-BE49-F238E27FC236}">
                      <a16:creationId xmlns:a16="http://schemas.microsoft.com/office/drawing/2014/main" xmlns="" id="{A20230F1-0B7C-4EC8-ADF0-00A38BBE4FB4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77044" y="4171512"/>
                  <a:ext cx="119840" cy="61205"/>
                </a:xfrm>
                <a:prstGeom prst="trapezoid">
                  <a:avLst/>
                </a:prstGeom>
                <a:solidFill>
                  <a:schemeClr val="bg2"/>
                </a:solidFill>
                <a:ln w="19050" cap="rnd" cmpd="sng">
                  <a:solidFill>
                    <a:schemeClr val="accent5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115" name="Group 419">
                <a:extLst>
                  <a:ext uri="{FF2B5EF4-FFF2-40B4-BE49-F238E27FC236}">
                    <a16:creationId xmlns:a16="http://schemas.microsoft.com/office/drawing/2014/main" xmlns="" id="{4B836711-686B-4E56-9972-07D6C2386E55}"/>
                  </a:ext>
                </a:extLst>
              </p:cNvPr>
              <p:cNvGrpSpPr/>
              <p:nvPr/>
            </p:nvGrpSpPr>
            <p:grpSpPr>
              <a:xfrm rot="19800000" flipH="1">
                <a:off x="5272388" y="2471081"/>
                <a:ext cx="1283395" cy="383617"/>
                <a:chOff x="3266635" y="4142194"/>
                <a:chExt cx="400931" cy="119841"/>
              </a:xfrm>
            </p:grpSpPr>
            <p:sp>
              <p:nvSpPr>
                <p:cNvPr id="116" name="Trapezoid 420">
                  <a:extLst>
                    <a:ext uri="{FF2B5EF4-FFF2-40B4-BE49-F238E27FC236}">
                      <a16:creationId xmlns:a16="http://schemas.microsoft.com/office/drawing/2014/main" xmlns="" id="{542B5075-C7E0-4552-AB43-F81D6A17EA6C}"/>
                    </a:ext>
                  </a:extLst>
                </p:cNvPr>
                <p:cNvSpPr/>
                <p:nvPr/>
              </p:nvSpPr>
              <p:spPr>
                <a:xfrm rot="5400000" flipV="1">
                  <a:off x="3237318" y="4171511"/>
                  <a:ext cx="119840" cy="61205"/>
                </a:xfrm>
                <a:prstGeom prst="trapezoid">
                  <a:avLst/>
                </a:prstGeom>
                <a:solidFill>
                  <a:schemeClr val="bg2"/>
                </a:solidFill>
                <a:ln w="19050" cap="rnd" cmpd="sng">
                  <a:solidFill>
                    <a:schemeClr val="accent5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117" name="Trapezoid 421">
                  <a:extLst>
                    <a:ext uri="{FF2B5EF4-FFF2-40B4-BE49-F238E27FC236}">
                      <a16:creationId xmlns:a16="http://schemas.microsoft.com/office/drawing/2014/main" xmlns="" id="{158EFCE7-91BB-468E-8F88-2A3AE3500BFB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77044" y="4171512"/>
                  <a:ext cx="119840" cy="61205"/>
                </a:xfrm>
                <a:prstGeom prst="trapezoid">
                  <a:avLst/>
                </a:prstGeom>
                <a:solidFill>
                  <a:schemeClr val="bg2"/>
                </a:solidFill>
                <a:ln w="19050" cap="rnd" cmpd="sng">
                  <a:solidFill>
                    <a:schemeClr val="accent5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</p:grpSp>
        <p:grpSp>
          <p:nvGrpSpPr>
            <p:cNvPr id="18" name="Group 426">
              <a:extLst>
                <a:ext uri="{FF2B5EF4-FFF2-40B4-BE49-F238E27FC236}">
                  <a16:creationId xmlns:a16="http://schemas.microsoft.com/office/drawing/2014/main" xmlns="" id="{3A6458FE-42CB-4508-BC0C-FD8AE2A43B1F}"/>
                </a:ext>
              </a:extLst>
            </p:cNvPr>
            <p:cNvGrpSpPr/>
            <p:nvPr>
              <p:custDataLst>
                <p:tags r:id="rId13"/>
              </p:custDataLst>
            </p:nvPr>
          </p:nvGrpSpPr>
          <p:grpSpPr>
            <a:xfrm>
              <a:off x="7114635" y="2919599"/>
              <a:ext cx="649520" cy="788165"/>
              <a:chOff x="7811582" y="557102"/>
              <a:chExt cx="1270422" cy="1689759"/>
            </a:xfrm>
          </p:grpSpPr>
          <p:sp>
            <p:nvSpPr>
              <p:cNvPr id="105" name="Rounded Rectangle 427">
                <a:extLst>
                  <a:ext uri="{FF2B5EF4-FFF2-40B4-BE49-F238E27FC236}">
                    <a16:creationId xmlns:a16="http://schemas.microsoft.com/office/drawing/2014/main" xmlns="" id="{AAE261C1-D3EF-4963-8BA1-FA4407A2F6A1}"/>
                  </a:ext>
                </a:extLst>
              </p:cNvPr>
              <p:cNvSpPr/>
              <p:nvPr/>
            </p:nvSpPr>
            <p:spPr>
              <a:xfrm>
                <a:off x="7811582" y="1323556"/>
                <a:ext cx="1270422" cy="860945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06" name="Isosceles Triangle 428">
                <a:extLst>
                  <a:ext uri="{FF2B5EF4-FFF2-40B4-BE49-F238E27FC236}">
                    <a16:creationId xmlns:a16="http://schemas.microsoft.com/office/drawing/2014/main" xmlns="" id="{C79C75D2-FCA8-4DDB-ACD4-80D69BC64341}"/>
                  </a:ext>
                </a:extLst>
              </p:cNvPr>
              <p:cNvSpPr/>
              <p:nvPr/>
            </p:nvSpPr>
            <p:spPr>
              <a:xfrm rot="10800000">
                <a:off x="8207038" y="1334048"/>
                <a:ext cx="479518" cy="912813"/>
              </a:xfrm>
              <a:prstGeom prst="triangle">
                <a:avLst/>
              </a:prstGeom>
              <a:solidFill>
                <a:schemeClr val="accent6"/>
              </a:solidFill>
              <a:ln w="28575" cap="rnd" cmpd="sng">
                <a:solidFill>
                  <a:schemeClr val="accent6"/>
                </a:solidFill>
                <a:rou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grpSp>
            <p:nvGrpSpPr>
              <p:cNvPr id="107" name="Group 429">
                <a:extLst>
                  <a:ext uri="{FF2B5EF4-FFF2-40B4-BE49-F238E27FC236}">
                    <a16:creationId xmlns:a16="http://schemas.microsoft.com/office/drawing/2014/main" xmlns="" id="{B865ACD9-EE51-4554-9A16-CACBE002EF6D}"/>
                  </a:ext>
                </a:extLst>
              </p:cNvPr>
              <p:cNvGrpSpPr/>
              <p:nvPr/>
            </p:nvGrpSpPr>
            <p:grpSpPr>
              <a:xfrm>
                <a:off x="8351241" y="1367954"/>
                <a:ext cx="191105" cy="404672"/>
                <a:chOff x="1962511" y="1247775"/>
                <a:chExt cx="241405" cy="511182"/>
              </a:xfrm>
            </p:grpSpPr>
            <p:sp>
              <p:nvSpPr>
                <p:cNvPr id="109" name="Isosceles Triangle 431">
                  <a:extLst>
                    <a:ext uri="{FF2B5EF4-FFF2-40B4-BE49-F238E27FC236}">
                      <a16:creationId xmlns:a16="http://schemas.microsoft.com/office/drawing/2014/main" xmlns="" id="{6A83C8A9-3DDA-4045-A294-4329374303EC}"/>
                    </a:ext>
                  </a:extLst>
                </p:cNvPr>
                <p:cNvSpPr/>
                <p:nvPr/>
              </p:nvSpPr>
              <p:spPr>
                <a:xfrm>
                  <a:off x="1962511" y="1247775"/>
                  <a:ext cx="241405" cy="161925"/>
                </a:xfrm>
                <a:prstGeom prst="triangle">
                  <a:avLst/>
                </a:prstGeom>
                <a:solidFill>
                  <a:schemeClr val="accent1"/>
                </a:solidFill>
                <a:ln w="28575" cap="rnd" cmpd="sng">
                  <a:solidFill>
                    <a:srgbClr val="0096D6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110" name="Isosceles Triangle 432">
                  <a:extLst>
                    <a:ext uri="{FF2B5EF4-FFF2-40B4-BE49-F238E27FC236}">
                      <a16:creationId xmlns:a16="http://schemas.microsoft.com/office/drawing/2014/main" xmlns="" id="{FD98A44F-74D2-4C96-BC50-5806DCEA47C4}"/>
                    </a:ext>
                  </a:extLst>
                </p:cNvPr>
                <p:cNvSpPr/>
                <p:nvPr/>
              </p:nvSpPr>
              <p:spPr>
                <a:xfrm rot="10800000">
                  <a:off x="1966447" y="1416054"/>
                  <a:ext cx="233533" cy="342903"/>
                </a:xfrm>
                <a:prstGeom prst="triangle">
                  <a:avLst/>
                </a:prstGeom>
                <a:solidFill>
                  <a:schemeClr val="accent1"/>
                </a:solidFill>
                <a:ln w="28575" cap="rnd" cmpd="sng">
                  <a:solidFill>
                    <a:srgbClr val="0096D6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sp>
            <p:nvSpPr>
              <p:cNvPr id="108" name="Oval 430">
                <a:extLst>
                  <a:ext uri="{FF2B5EF4-FFF2-40B4-BE49-F238E27FC236}">
                    <a16:creationId xmlns:a16="http://schemas.microsoft.com/office/drawing/2014/main" xmlns="" id="{46F5B196-82A2-48CD-8771-C515B8711D83}"/>
                  </a:ext>
                </a:extLst>
              </p:cNvPr>
              <p:cNvSpPr/>
              <p:nvPr/>
            </p:nvSpPr>
            <p:spPr>
              <a:xfrm>
                <a:off x="8100316" y="557102"/>
                <a:ext cx="692956" cy="69295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</p:grp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xmlns="" id="{D439AB59-A3DB-4E36-9292-00F13DD32E1C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 rot="20558898">
              <a:off x="-630366" y="3923425"/>
              <a:ext cx="891295" cy="569226"/>
            </a:xfrm>
            <a:custGeom>
              <a:avLst/>
              <a:gdLst>
                <a:gd name="T0" fmla="*/ 39 w 286"/>
                <a:gd name="T1" fmla="*/ 160 h 201"/>
                <a:gd name="T2" fmla="*/ 12 w 286"/>
                <a:gd name="T3" fmla="*/ 154 h 201"/>
                <a:gd name="T4" fmla="*/ 29 w 286"/>
                <a:gd name="T5" fmla="*/ 141 h 201"/>
                <a:gd name="T6" fmla="*/ 54 w 286"/>
                <a:gd name="T7" fmla="*/ 90 h 201"/>
                <a:gd name="T8" fmla="*/ 94 w 286"/>
                <a:gd name="T9" fmla="*/ 101 h 201"/>
                <a:gd name="T10" fmla="*/ 116 w 286"/>
                <a:gd name="T11" fmla="*/ 123 h 201"/>
                <a:gd name="T12" fmla="*/ 138 w 286"/>
                <a:gd name="T13" fmla="*/ 142 h 201"/>
                <a:gd name="T14" fmla="*/ 150 w 286"/>
                <a:gd name="T15" fmla="*/ 149 h 201"/>
                <a:gd name="T16" fmla="*/ 175 w 286"/>
                <a:gd name="T17" fmla="*/ 175 h 201"/>
                <a:gd name="T18" fmla="*/ 191 w 286"/>
                <a:gd name="T19" fmla="*/ 167 h 201"/>
                <a:gd name="T20" fmla="*/ 179 w 286"/>
                <a:gd name="T21" fmla="*/ 120 h 201"/>
                <a:gd name="T22" fmla="*/ 214 w 286"/>
                <a:gd name="T23" fmla="*/ 164 h 201"/>
                <a:gd name="T24" fmla="*/ 191 w 286"/>
                <a:gd name="T25" fmla="*/ 108 h 201"/>
                <a:gd name="T26" fmla="*/ 229 w 286"/>
                <a:gd name="T27" fmla="*/ 148 h 201"/>
                <a:gd name="T28" fmla="*/ 239 w 286"/>
                <a:gd name="T29" fmla="*/ 144 h 201"/>
                <a:gd name="T30" fmla="*/ 105 w 286"/>
                <a:gd name="T31" fmla="*/ 49 h 201"/>
                <a:gd name="T32" fmla="*/ 12 w 286"/>
                <a:gd name="T33" fmla="*/ 56 h 201"/>
                <a:gd name="T34" fmla="*/ 50 w 286"/>
                <a:gd name="T35" fmla="*/ 45 h 201"/>
                <a:gd name="T36" fmla="*/ 97 w 286"/>
                <a:gd name="T37" fmla="*/ 0 h 201"/>
                <a:gd name="T38" fmla="*/ 176 w 286"/>
                <a:gd name="T39" fmla="*/ 3 h 201"/>
                <a:gd name="T40" fmla="*/ 231 w 286"/>
                <a:gd name="T41" fmla="*/ 41 h 201"/>
                <a:gd name="T42" fmla="*/ 270 w 286"/>
                <a:gd name="T43" fmla="*/ 53 h 201"/>
                <a:gd name="T44" fmla="*/ 185 w 286"/>
                <a:gd name="T45" fmla="*/ 34 h 201"/>
                <a:gd name="T46" fmla="*/ 99 w 286"/>
                <a:gd name="T47" fmla="*/ 13 h 201"/>
                <a:gd name="T48" fmla="*/ 98 w 286"/>
                <a:gd name="T49" fmla="*/ 38 h 201"/>
                <a:gd name="T50" fmla="*/ 208 w 286"/>
                <a:gd name="T51" fmla="*/ 63 h 201"/>
                <a:gd name="T52" fmla="*/ 250 w 286"/>
                <a:gd name="T53" fmla="*/ 138 h 201"/>
                <a:gd name="T54" fmla="*/ 286 w 286"/>
                <a:gd name="T55" fmla="*/ 141 h 201"/>
                <a:gd name="T56" fmla="*/ 252 w 286"/>
                <a:gd name="T57" fmla="*/ 154 h 201"/>
                <a:gd name="T58" fmla="*/ 230 w 286"/>
                <a:gd name="T59" fmla="*/ 164 h 201"/>
                <a:gd name="T60" fmla="*/ 204 w 286"/>
                <a:gd name="T61" fmla="*/ 177 h 201"/>
                <a:gd name="T62" fmla="*/ 174 w 286"/>
                <a:gd name="T63" fmla="*/ 191 h 201"/>
                <a:gd name="T64" fmla="*/ 144 w 286"/>
                <a:gd name="T65" fmla="*/ 190 h 201"/>
                <a:gd name="T66" fmla="*/ 141 w 286"/>
                <a:gd name="T67" fmla="*/ 188 h 201"/>
                <a:gd name="T68" fmla="*/ 112 w 286"/>
                <a:gd name="T69" fmla="*/ 189 h 201"/>
                <a:gd name="T70" fmla="*/ 82 w 286"/>
                <a:gd name="T71" fmla="*/ 178 h 201"/>
                <a:gd name="T72" fmla="*/ 55 w 286"/>
                <a:gd name="T73" fmla="*/ 16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86" h="201">
                  <a:moveTo>
                    <a:pt x="55" y="162"/>
                  </a:moveTo>
                  <a:cubicBezTo>
                    <a:pt x="50" y="163"/>
                    <a:pt x="44" y="163"/>
                    <a:pt x="39" y="160"/>
                  </a:cubicBezTo>
                  <a:cubicBezTo>
                    <a:pt x="36" y="158"/>
                    <a:pt x="33" y="156"/>
                    <a:pt x="32" y="153"/>
                  </a:cubicBezTo>
                  <a:cubicBezTo>
                    <a:pt x="12" y="154"/>
                    <a:pt x="12" y="154"/>
                    <a:pt x="12" y="154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29" y="141"/>
                    <a:pt x="29" y="141"/>
                    <a:pt x="29" y="141"/>
                  </a:cubicBezTo>
                  <a:cubicBezTo>
                    <a:pt x="29" y="137"/>
                    <a:pt x="30" y="134"/>
                    <a:pt x="31" y="13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60" y="79"/>
                    <a:pt x="74" y="76"/>
                    <a:pt x="84" y="82"/>
                  </a:cubicBezTo>
                  <a:cubicBezTo>
                    <a:pt x="91" y="86"/>
                    <a:pt x="95" y="94"/>
                    <a:pt x="94" y="101"/>
                  </a:cubicBezTo>
                  <a:cubicBezTo>
                    <a:pt x="98" y="101"/>
                    <a:pt x="102" y="102"/>
                    <a:pt x="106" y="104"/>
                  </a:cubicBezTo>
                  <a:cubicBezTo>
                    <a:pt x="113" y="108"/>
                    <a:pt x="117" y="116"/>
                    <a:pt x="116" y="123"/>
                  </a:cubicBezTo>
                  <a:cubicBezTo>
                    <a:pt x="121" y="123"/>
                    <a:pt x="124" y="124"/>
                    <a:pt x="128" y="126"/>
                  </a:cubicBezTo>
                  <a:cubicBezTo>
                    <a:pt x="134" y="130"/>
                    <a:pt x="137" y="136"/>
                    <a:pt x="138" y="142"/>
                  </a:cubicBezTo>
                  <a:cubicBezTo>
                    <a:pt x="141" y="142"/>
                    <a:pt x="143" y="144"/>
                    <a:pt x="146" y="145"/>
                  </a:cubicBezTo>
                  <a:cubicBezTo>
                    <a:pt x="148" y="146"/>
                    <a:pt x="150" y="149"/>
                    <a:pt x="150" y="149"/>
                  </a:cubicBezTo>
                  <a:cubicBezTo>
                    <a:pt x="157" y="142"/>
                    <a:pt x="157" y="142"/>
                    <a:pt x="157" y="142"/>
                  </a:cubicBezTo>
                  <a:cubicBezTo>
                    <a:pt x="175" y="175"/>
                    <a:pt x="175" y="175"/>
                    <a:pt x="175" y="175"/>
                  </a:cubicBezTo>
                  <a:cubicBezTo>
                    <a:pt x="178" y="180"/>
                    <a:pt x="183" y="182"/>
                    <a:pt x="187" y="179"/>
                  </a:cubicBezTo>
                  <a:cubicBezTo>
                    <a:pt x="194" y="176"/>
                    <a:pt x="193" y="170"/>
                    <a:pt x="191" y="167"/>
                  </a:cubicBezTo>
                  <a:cubicBezTo>
                    <a:pt x="170" y="129"/>
                    <a:pt x="170" y="129"/>
                    <a:pt x="170" y="129"/>
                  </a:cubicBezTo>
                  <a:cubicBezTo>
                    <a:pt x="179" y="120"/>
                    <a:pt x="179" y="120"/>
                    <a:pt x="179" y="120"/>
                  </a:cubicBezTo>
                  <a:cubicBezTo>
                    <a:pt x="202" y="160"/>
                    <a:pt x="202" y="160"/>
                    <a:pt x="202" y="160"/>
                  </a:cubicBezTo>
                  <a:cubicBezTo>
                    <a:pt x="204" y="164"/>
                    <a:pt x="210" y="166"/>
                    <a:pt x="214" y="164"/>
                  </a:cubicBezTo>
                  <a:cubicBezTo>
                    <a:pt x="220" y="161"/>
                    <a:pt x="218" y="155"/>
                    <a:pt x="217" y="152"/>
                  </a:cubicBezTo>
                  <a:cubicBezTo>
                    <a:pt x="191" y="108"/>
                    <a:pt x="191" y="108"/>
                    <a:pt x="191" y="108"/>
                  </a:cubicBezTo>
                  <a:cubicBezTo>
                    <a:pt x="200" y="99"/>
                    <a:pt x="200" y="99"/>
                    <a:pt x="200" y="99"/>
                  </a:cubicBezTo>
                  <a:cubicBezTo>
                    <a:pt x="229" y="148"/>
                    <a:pt x="229" y="148"/>
                    <a:pt x="229" y="148"/>
                  </a:cubicBezTo>
                  <a:cubicBezTo>
                    <a:pt x="231" y="152"/>
                    <a:pt x="235" y="154"/>
                    <a:pt x="238" y="151"/>
                  </a:cubicBezTo>
                  <a:cubicBezTo>
                    <a:pt x="240" y="150"/>
                    <a:pt x="241" y="147"/>
                    <a:pt x="239" y="144"/>
                  </a:cubicBezTo>
                  <a:cubicBezTo>
                    <a:pt x="203" y="75"/>
                    <a:pt x="203" y="75"/>
                    <a:pt x="203" y="75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97" y="57"/>
                    <a:pt x="73" y="76"/>
                    <a:pt x="49" y="57"/>
                  </a:cubicBezTo>
                  <a:cubicBezTo>
                    <a:pt x="12" y="56"/>
                    <a:pt x="12" y="56"/>
                    <a:pt x="12" y="56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93" y="2"/>
                    <a:pt x="93" y="2"/>
                    <a:pt x="93" y="2"/>
                  </a:cubicBezTo>
                  <a:cubicBezTo>
                    <a:pt x="93" y="1"/>
                    <a:pt x="96" y="0"/>
                    <a:pt x="97" y="0"/>
                  </a:cubicBezTo>
                  <a:cubicBezTo>
                    <a:pt x="171" y="1"/>
                    <a:pt x="171" y="1"/>
                    <a:pt x="171" y="1"/>
                  </a:cubicBezTo>
                  <a:cubicBezTo>
                    <a:pt x="173" y="1"/>
                    <a:pt x="176" y="2"/>
                    <a:pt x="176" y="3"/>
                  </a:cubicBezTo>
                  <a:cubicBezTo>
                    <a:pt x="195" y="26"/>
                    <a:pt x="195" y="26"/>
                    <a:pt x="195" y="26"/>
                  </a:cubicBezTo>
                  <a:cubicBezTo>
                    <a:pt x="198" y="30"/>
                    <a:pt x="206" y="42"/>
                    <a:pt x="231" y="41"/>
                  </a:cubicBezTo>
                  <a:cubicBezTo>
                    <a:pt x="258" y="41"/>
                    <a:pt x="258" y="41"/>
                    <a:pt x="258" y="41"/>
                  </a:cubicBezTo>
                  <a:cubicBezTo>
                    <a:pt x="270" y="53"/>
                    <a:pt x="270" y="53"/>
                    <a:pt x="270" y="53"/>
                  </a:cubicBezTo>
                  <a:cubicBezTo>
                    <a:pt x="232" y="54"/>
                    <a:pt x="232" y="54"/>
                    <a:pt x="232" y="54"/>
                  </a:cubicBezTo>
                  <a:cubicBezTo>
                    <a:pt x="199" y="55"/>
                    <a:pt x="190" y="39"/>
                    <a:pt x="185" y="34"/>
                  </a:cubicBezTo>
                  <a:cubicBezTo>
                    <a:pt x="169" y="13"/>
                    <a:pt x="169" y="13"/>
                    <a:pt x="169" y="13"/>
                  </a:cubicBezTo>
                  <a:cubicBezTo>
                    <a:pt x="99" y="13"/>
                    <a:pt x="99" y="13"/>
                    <a:pt x="99" y="13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81" y="59"/>
                    <a:pt x="98" y="38"/>
                    <a:pt x="98" y="38"/>
                  </a:cubicBezTo>
                  <a:cubicBezTo>
                    <a:pt x="100" y="36"/>
                    <a:pt x="102" y="35"/>
                    <a:pt x="105" y="36"/>
                  </a:cubicBezTo>
                  <a:cubicBezTo>
                    <a:pt x="208" y="63"/>
                    <a:pt x="208" y="63"/>
                    <a:pt x="208" y="63"/>
                  </a:cubicBezTo>
                  <a:cubicBezTo>
                    <a:pt x="210" y="63"/>
                    <a:pt x="212" y="65"/>
                    <a:pt x="212" y="66"/>
                  </a:cubicBezTo>
                  <a:cubicBezTo>
                    <a:pt x="250" y="138"/>
                    <a:pt x="250" y="138"/>
                    <a:pt x="250" y="138"/>
                  </a:cubicBezTo>
                  <a:cubicBezTo>
                    <a:pt x="251" y="139"/>
                    <a:pt x="251" y="140"/>
                    <a:pt x="252" y="141"/>
                  </a:cubicBezTo>
                  <a:cubicBezTo>
                    <a:pt x="252" y="142"/>
                    <a:pt x="286" y="141"/>
                    <a:pt x="286" y="141"/>
                  </a:cubicBezTo>
                  <a:cubicBezTo>
                    <a:pt x="273" y="154"/>
                    <a:pt x="273" y="154"/>
                    <a:pt x="273" y="154"/>
                  </a:cubicBezTo>
                  <a:cubicBezTo>
                    <a:pt x="252" y="154"/>
                    <a:pt x="252" y="154"/>
                    <a:pt x="252" y="154"/>
                  </a:cubicBezTo>
                  <a:cubicBezTo>
                    <a:pt x="251" y="157"/>
                    <a:pt x="248" y="160"/>
                    <a:pt x="243" y="163"/>
                  </a:cubicBezTo>
                  <a:cubicBezTo>
                    <a:pt x="239" y="165"/>
                    <a:pt x="234" y="165"/>
                    <a:pt x="230" y="164"/>
                  </a:cubicBezTo>
                  <a:cubicBezTo>
                    <a:pt x="228" y="168"/>
                    <a:pt x="225" y="172"/>
                    <a:pt x="220" y="175"/>
                  </a:cubicBezTo>
                  <a:cubicBezTo>
                    <a:pt x="215" y="178"/>
                    <a:pt x="209" y="178"/>
                    <a:pt x="204" y="177"/>
                  </a:cubicBezTo>
                  <a:cubicBezTo>
                    <a:pt x="203" y="182"/>
                    <a:pt x="199" y="187"/>
                    <a:pt x="193" y="190"/>
                  </a:cubicBezTo>
                  <a:cubicBezTo>
                    <a:pt x="187" y="194"/>
                    <a:pt x="180" y="194"/>
                    <a:pt x="174" y="191"/>
                  </a:cubicBezTo>
                  <a:cubicBezTo>
                    <a:pt x="173" y="193"/>
                    <a:pt x="171" y="195"/>
                    <a:pt x="168" y="197"/>
                  </a:cubicBezTo>
                  <a:cubicBezTo>
                    <a:pt x="159" y="201"/>
                    <a:pt x="149" y="198"/>
                    <a:pt x="144" y="190"/>
                  </a:cubicBezTo>
                  <a:cubicBezTo>
                    <a:pt x="142" y="186"/>
                    <a:pt x="142" y="186"/>
                    <a:pt x="142" y="186"/>
                  </a:cubicBezTo>
                  <a:cubicBezTo>
                    <a:pt x="141" y="188"/>
                    <a:pt x="141" y="188"/>
                    <a:pt x="141" y="188"/>
                  </a:cubicBezTo>
                  <a:cubicBezTo>
                    <a:pt x="136" y="197"/>
                    <a:pt x="126" y="199"/>
                    <a:pt x="117" y="194"/>
                  </a:cubicBezTo>
                  <a:cubicBezTo>
                    <a:pt x="115" y="193"/>
                    <a:pt x="113" y="192"/>
                    <a:pt x="112" y="189"/>
                  </a:cubicBezTo>
                  <a:cubicBezTo>
                    <a:pt x="106" y="193"/>
                    <a:pt x="98" y="193"/>
                    <a:pt x="91" y="190"/>
                  </a:cubicBezTo>
                  <a:cubicBezTo>
                    <a:pt x="86" y="187"/>
                    <a:pt x="83" y="183"/>
                    <a:pt x="82" y="178"/>
                  </a:cubicBezTo>
                  <a:cubicBezTo>
                    <a:pt x="77" y="179"/>
                    <a:pt x="71" y="178"/>
                    <a:pt x="65" y="175"/>
                  </a:cubicBezTo>
                  <a:cubicBezTo>
                    <a:pt x="60" y="172"/>
                    <a:pt x="57" y="167"/>
                    <a:pt x="55" y="162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101456" tIns="50729" rIns="101456" bIns="50729" numCol="1" anchor="t" anchorCtr="0" compatLnSpc="1">
              <a:prstTxWarp prst="textNoShape">
                <a:avLst/>
              </a:prstTxWarp>
            </a:bodyPr>
            <a:lstStyle/>
            <a:p>
              <a:pPr defTabSz="504442"/>
              <a:endParaRPr lang="en-US" sz="1998">
                <a:solidFill>
                  <a:prstClr val="black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grpSp>
          <p:nvGrpSpPr>
            <p:cNvPr id="20" name="Group 434">
              <a:extLst>
                <a:ext uri="{FF2B5EF4-FFF2-40B4-BE49-F238E27FC236}">
                  <a16:creationId xmlns:a16="http://schemas.microsoft.com/office/drawing/2014/main" xmlns="" id="{BF876C57-0309-4FCF-9B5D-967E0BE2F3CA}"/>
                </a:ext>
              </a:extLst>
            </p:cNvPr>
            <p:cNvGrpSpPr/>
            <p:nvPr>
              <p:custDataLst>
                <p:tags r:id="rId15"/>
              </p:custDataLst>
            </p:nvPr>
          </p:nvGrpSpPr>
          <p:grpSpPr>
            <a:xfrm>
              <a:off x="-331438" y="3087332"/>
              <a:ext cx="1034958" cy="535459"/>
              <a:chOff x="-2037389" y="1780375"/>
              <a:chExt cx="6532598" cy="3379787"/>
            </a:xfrm>
          </p:grpSpPr>
          <p:sp>
            <p:nvSpPr>
              <p:cNvPr id="103" name="Freeform 6">
                <a:extLst>
                  <a:ext uri="{FF2B5EF4-FFF2-40B4-BE49-F238E27FC236}">
                    <a16:creationId xmlns:a16="http://schemas.microsoft.com/office/drawing/2014/main" xmlns="" id="{D989FA76-FD30-4698-8251-9AC07FB9CF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037389" y="1864511"/>
                <a:ext cx="4908550" cy="3295651"/>
              </a:xfrm>
              <a:custGeom>
                <a:avLst/>
                <a:gdLst>
                  <a:gd name="T0" fmla="*/ 452 w 639"/>
                  <a:gd name="T1" fmla="*/ 184 h 429"/>
                  <a:gd name="T2" fmla="*/ 207 w 639"/>
                  <a:gd name="T3" fmla="*/ 184 h 429"/>
                  <a:gd name="T4" fmla="*/ 180 w 639"/>
                  <a:gd name="T5" fmla="*/ 429 h 429"/>
                  <a:gd name="T6" fmla="*/ 466 w 639"/>
                  <a:gd name="T7" fmla="*/ 429 h 429"/>
                  <a:gd name="T8" fmla="*/ 452 w 639"/>
                  <a:gd name="T9" fmla="*/ 184 h 4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9" h="429">
                    <a:moveTo>
                      <a:pt x="452" y="184"/>
                    </a:moveTo>
                    <a:cubicBezTo>
                      <a:pt x="461" y="37"/>
                      <a:pt x="223" y="0"/>
                      <a:pt x="207" y="184"/>
                    </a:cubicBezTo>
                    <a:cubicBezTo>
                      <a:pt x="111" y="170"/>
                      <a:pt x="0" y="343"/>
                      <a:pt x="180" y="429"/>
                    </a:cubicBezTo>
                    <a:cubicBezTo>
                      <a:pt x="466" y="429"/>
                      <a:pt x="466" y="429"/>
                      <a:pt x="466" y="429"/>
                    </a:cubicBezTo>
                    <a:cubicBezTo>
                      <a:pt x="639" y="388"/>
                      <a:pt x="581" y="176"/>
                      <a:pt x="452" y="184"/>
                    </a:cubicBezTo>
                    <a:close/>
                  </a:path>
                </a:pathLst>
              </a:custGeom>
              <a:solidFill>
                <a:srgbClr val="E21C23"/>
              </a:solidFill>
              <a:ln>
                <a:noFill/>
              </a:ln>
            </p:spPr>
            <p:txBody>
              <a:bodyPr vert="horz" wrap="square" lIns="101506" tIns="50752" rIns="101506" bIns="50752" numCol="1" anchor="t" anchorCtr="0" compatLnSpc="1">
                <a:prstTxWarp prst="textNoShape">
                  <a:avLst/>
                </a:prstTxWarp>
              </a:bodyPr>
              <a:lstStyle/>
              <a:p>
                <a:pPr defTabSz="504442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04" name="Freeform 7">
                <a:extLst>
                  <a:ext uri="{FF2B5EF4-FFF2-40B4-BE49-F238E27FC236}">
                    <a16:creationId xmlns:a16="http://schemas.microsoft.com/office/drawing/2014/main" xmlns="" id="{54A30F80-41EB-4ECB-A7AA-C1B8CB40B3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1795" y="1780375"/>
                <a:ext cx="3173414" cy="3341690"/>
              </a:xfrm>
              <a:custGeom>
                <a:avLst/>
                <a:gdLst>
                  <a:gd name="T0" fmla="*/ 234 w 413"/>
                  <a:gd name="T1" fmla="*/ 195 h 435"/>
                  <a:gd name="T2" fmla="*/ 3 w 413"/>
                  <a:gd name="T3" fmla="*/ 128 h 435"/>
                  <a:gd name="T4" fmla="*/ 3 w 413"/>
                  <a:gd name="T5" fmla="*/ 127 h 435"/>
                  <a:gd name="T6" fmla="*/ 0 w 413"/>
                  <a:gd name="T7" fmla="*/ 136 h 435"/>
                  <a:gd name="T8" fmla="*/ 15 w 413"/>
                  <a:gd name="T9" fmla="*/ 151 h 435"/>
                  <a:gd name="T10" fmla="*/ 28 w 413"/>
                  <a:gd name="T11" fmla="*/ 141 h 435"/>
                  <a:gd name="T12" fmla="*/ 203 w 413"/>
                  <a:gd name="T13" fmla="*/ 224 h 435"/>
                  <a:gd name="T14" fmla="*/ 258 w 413"/>
                  <a:gd name="T15" fmla="*/ 409 h 435"/>
                  <a:gd name="T16" fmla="*/ 111 w 413"/>
                  <a:gd name="T17" fmla="*/ 409 h 435"/>
                  <a:gd name="T18" fmla="*/ 100 w 413"/>
                  <a:gd name="T19" fmla="*/ 422 h 435"/>
                  <a:gd name="T20" fmla="*/ 111 w 413"/>
                  <a:gd name="T21" fmla="*/ 435 h 435"/>
                  <a:gd name="T22" fmla="*/ 262 w 413"/>
                  <a:gd name="T23" fmla="*/ 435 h 435"/>
                  <a:gd name="T24" fmla="*/ 234 w 413"/>
                  <a:gd name="T25" fmla="*/ 195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3" h="435">
                    <a:moveTo>
                      <a:pt x="234" y="195"/>
                    </a:moveTo>
                    <a:cubicBezTo>
                      <a:pt x="254" y="80"/>
                      <a:pt x="89" y="0"/>
                      <a:pt x="3" y="128"/>
                    </a:cubicBezTo>
                    <a:cubicBezTo>
                      <a:pt x="3" y="127"/>
                      <a:pt x="3" y="127"/>
                      <a:pt x="3" y="127"/>
                    </a:cubicBezTo>
                    <a:cubicBezTo>
                      <a:pt x="1" y="130"/>
                      <a:pt x="0" y="133"/>
                      <a:pt x="0" y="136"/>
                    </a:cubicBezTo>
                    <a:cubicBezTo>
                      <a:pt x="0" y="144"/>
                      <a:pt x="6" y="151"/>
                      <a:pt x="15" y="151"/>
                    </a:cubicBezTo>
                    <a:cubicBezTo>
                      <a:pt x="21" y="151"/>
                      <a:pt x="24" y="148"/>
                      <a:pt x="28" y="141"/>
                    </a:cubicBezTo>
                    <a:cubicBezTo>
                      <a:pt x="99" y="39"/>
                      <a:pt x="224" y="99"/>
                      <a:pt x="203" y="224"/>
                    </a:cubicBezTo>
                    <a:cubicBezTo>
                      <a:pt x="346" y="201"/>
                      <a:pt x="390" y="361"/>
                      <a:pt x="258" y="409"/>
                    </a:cubicBezTo>
                    <a:cubicBezTo>
                      <a:pt x="111" y="409"/>
                      <a:pt x="111" y="409"/>
                      <a:pt x="111" y="409"/>
                    </a:cubicBezTo>
                    <a:cubicBezTo>
                      <a:pt x="105" y="410"/>
                      <a:pt x="100" y="415"/>
                      <a:pt x="100" y="422"/>
                    </a:cubicBezTo>
                    <a:cubicBezTo>
                      <a:pt x="100" y="428"/>
                      <a:pt x="105" y="434"/>
                      <a:pt x="111" y="435"/>
                    </a:cubicBezTo>
                    <a:cubicBezTo>
                      <a:pt x="262" y="435"/>
                      <a:pt x="262" y="435"/>
                      <a:pt x="262" y="435"/>
                    </a:cubicBezTo>
                    <a:cubicBezTo>
                      <a:pt x="402" y="411"/>
                      <a:pt x="413" y="199"/>
                      <a:pt x="234" y="195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101506" tIns="50752" rIns="101506" bIns="50752" numCol="1" anchor="t" anchorCtr="0" compatLnSpc="1">
                <a:prstTxWarp prst="textNoShape">
                  <a:avLst/>
                </a:prstTxWarp>
              </a:bodyPr>
              <a:lstStyle/>
              <a:p>
                <a:pPr defTabSz="504442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</p:grpSp>
        <p:sp>
          <p:nvSpPr>
            <p:cNvPr id="21" name="Rectangle 437">
              <a:extLst>
                <a:ext uri="{FF2B5EF4-FFF2-40B4-BE49-F238E27FC236}">
                  <a16:creationId xmlns:a16="http://schemas.microsoft.com/office/drawing/2014/main" xmlns="" id="{1044927D-95BA-4FC7-BD86-5C30FAF87DCF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1467006" y="2797815"/>
              <a:ext cx="2443068" cy="55592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algn="r" defTabSz="1014582"/>
              <a:r>
                <a:rPr lang="en-US" sz="2665" kern="0">
                  <a:solidFill>
                    <a:schemeClr val="accent4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managed cloud</a:t>
              </a:r>
            </a:p>
          </p:txBody>
        </p:sp>
        <p:sp>
          <p:nvSpPr>
            <p:cNvPr id="22" name="Rectangle 439">
              <a:extLst>
                <a:ext uri="{FF2B5EF4-FFF2-40B4-BE49-F238E27FC236}">
                  <a16:creationId xmlns:a16="http://schemas.microsoft.com/office/drawing/2014/main" xmlns="" id="{95AB2238-ED25-4B72-BB7E-3A932E45D473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 rot="16200000">
              <a:off x="2127656" y="3333350"/>
              <a:ext cx="789798" cy="51017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>
                <a:defRPr/>
              </a:pPr>
              <a:r>
                <a:rPr lang="en-US" sz="2665" kern="0" err="1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SaaS</a:t>
              </a:r>
              <a:endParaRPr lang="en-US" sz="2665" kern="0">
                <a:solidFill>
                  <a:srgbClr val="87898B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23" name="Rectangle 440">
              <a:extLst>
                <a:ext uri="{FF2B5EF4-FFF2-40B4-BE49-F238E27FC236}">
                  <a16:creationId xmlns:a16="http://schemas.microsoft.com/office/drawing/2014/main" xmlns="" id="{8ECB41E0-5365-40B5-B854-3D289CD2BE2A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rot="16200000">
              <a:off x="955041" y="1590328"/>
              <a:ext cx="1775608" cy="6673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>
                <a:defRPr/>
              </a:pPr>
              <a:r>
                <a:rPr lang="en-US" sz="1998" b="1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Storage</a:t>
              </a:r>
            </a:p>
          </p:txBody>
        </p:sp>
        <p:sp>
          <p:nvSpPr>
            <p:cNvPr id="24" name="Rounded Rectangle 442">
              <a:extLst>
                <a:ext uri="{FF2B5EF4-FFF2-40B4-BE49-F238E27FC236}">
                  <a16:creationId xmlns:a16="http://schemas.microsoft.com/office/drawing/2014/main" xmlns="" id="{A19A723E-F4B8-478E-9422-77C2A3C80C73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5601213" y="2830307"/>
              <a:ext cx="544719" cy="540089"/>
            </a:xfrm>
            <a:prstGeom prst="roundRect">
              <a:avLst>
                <a:gd name="adj" fmla="val 12398"/>
              </a:avLst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noAutofit/>
            </a:bodyPr>
            <a:lstStyle/>
            <a:p>
              <a:pPr algn="ctr" defTabSz="504442"/>
              <a:r>
                <a:rPr lang="en-US" sz="1998">
                  <a:solidFill>
                    <a:srgbClr val="E5E8E8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Apps</a:t>
              </a:r>
            </a:p>
          </p:txBody>
        </p:sp>
        <p:grpSp>
          <p:nvGrpSpPr>
            <p:cNvPr id="25" name="Group 4">
              <a:extLst>
                <a:ext uri="{FF2B5EF4-FFF2-40B4-BE49-F238E27FC236}">
                  <a16:creationId xmlns:a16="http://schemas.microsoft.com/office/drawing/2014/main" xmlns="" id="{1C5DCA57-24AB-4BE1-AFF1-8198B8DE2F78}"/>
                </a:ext>
              </a:extLst>
            </p:cNvPr>
            <p:cNvGrpSpPr/>
            <p:nvPr>
              <p:custDataLst>
                <p:tags r:id="rId20"/>
              </p:custDataLst>
            </p:nvPr>
          </p:nvGrpSpPr>
          <p:grpSpPr>
            <a:xfrm>
              <a:off x="3530596" y="953680"/>
              <a:ext cx="868068" cy="223174"/>
              <a:chOff x="803042" y="2513025"/>
              <a:chExt cx="1662441" cy="373709"/>
            </a:xfrm>
          </p:grpSpPr>
          <p:sp>
            <p:nvSpPr>
              <p:cNvPr id="100" name="Rounded Rectangle 443">
                <a:extLst>
                  <a:ext uri="{FF2B5EF4-FFF2-40B4-BE49-F238E27FC236}">
                    <a16:creationId xmlns:a16="http://schemas.microsoft.com/office/drawing/2014/main" xmlns="" id="{1ADD330B-8959-4686-835C-93E3B53449F0}"/>
                  </a:ext>
                </a:extLst>
              </p:cNvPr>
              <p:cNvSpPr/>
              <p:nvPr/>
            </p:nvSpPr>
            <p:spPr>
              <a:xfrm>
                <a:off x="803042" y="2513025"/>
                <a:ext cx="1662441" cy="373709"/>
              </a:xfrm>
              <a:prstGeom prst="roundRect">
                <a:avLst/>
              </a:prstGeom>
              <a:solidFill>
                <a:srgbClr val="0096D6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defTabSz="504442"/>
                <a:endParaRPr lang="en-US" sz="1332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01" name="Oval 444">
                <a:extLst>
                  <a:ext uri="{FF2B5EF4-FFF2-40B4-BE49-F238E27FC236}">
                    <a16:creationId xmlns:a16="http://schemas.microsoft.com/office/drawing/2014/main" xmlns="" id="{62D7D482-1F5D-4703-82C6-A99145DF90C6}"/>
                  </a:ext>
                </a:extLst>
              </p:cNvPr>
              <p:cNvSpPr/>
              <p:nvPr/>
            </p:nvSpPr>
            <p:spPr>
              <a:xfrm>
                <a:off x="944963" y="2612200"/>
                <a:ext cx="189288" cy="189289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defTabSz="504442"/>
                <a:endParaRPr lang="en-US" sz="1332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02" name="Rounded Rectangle 445">
                <a:extLst>
                  <a:ext uri="{FF2B5EF4-FFF2-40B4-BE49-F238E27FC236}">
                    <a16:creationId xmlns:a16="http://schemas.microsoft.com/office/drawing/2014/main" xmlns="" id="{F10D8918-FD6C-48F7-8AA7-92FB1D982489}"/>
                  </a:ext>
                </a:extLst>
              </p:cNvPr>
              <p:cNvSpPr/>
              <p:nvPr/>
            </p:nvSpPr>
            <p:spPr>
              <a:xfrm>
                <a:off x="1278019" y="2624721"/>
                <a:ext cx="1052242" cy="172465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0452" tIns="0" bIns="10149" rtlCol="0" anchor="ctr"/>
              <a:lstStyle/>
              <a:p>
                <a:pPr algn="r" defTabSz="504442"/>
                <a:r>
                  <a:rPr lang="en-US" sz="889">
                    <a:solidFill>
                      <a:srgbClr val="0096D6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  <a:sym typeface="HP Simplified"/>
                  </a:rPr>
                  <a:t>●●</a:t>
                </a:r>
              </a:p>
            </p:txBody>
          </p:sp>
        </p:grpSp>
        <p:sp>
          <p:nvSpPr>
            <p:cNvPr id="26" name="Rectangle 453">
              <a:extLst>
                <a:ext uri="{FF2B5EF4-FFF2-40B4-BE49-F238E27FC236}">
                  <a16:creationId xmlns:a16="http://schemas.microsoft.com/office/drawing/2014/main" xmlns="" id="{837C78D9-2BD2-4D81-B700-DF6C9848E2B0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3679522" y="1246179"/>
              <a:ext cx="1601804" cy="55592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algn="r" defTabSz="1014582"/>
              <a:r>
                <a:rPr lang="en-GB" sz="1998" b="1" kern="0">
                  <a:solidFill>
                    <a:schemeClr val="accent4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Continuous compliance</a:t>
              </a:r>
              <a:endParaRPr lang="en-US" sz="1998" b="1" kern="0">
                <a:solidFill>
                  <a:schemeClr val="accent4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27" name="Rectangle 454">
              <a:extLst>
                <a:ext uri="{FF2B5EF4-FFF2-40B4-BE49-F238E27FC236}">
                  <a16:creationId xmlns:a16="http://schemas.microsoft.com/office/drawing/2014/main" xmlns="" id="{054C94D9-8F54-4698-8BCC-6920F1A5388E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4255290" y="2866442"/>
              <a:ext cx="1361389" cy="459443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>
                <a:spcBef>
                  <a:spcPts val="1332"/>
                </a:spcBef>
              </a:pPr>
              <a:r>
                <a:rPr lang="en-US" sz="1554" kern="0">
                  <a:solidFill>
                    <a:srgbClr val="B9B8B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in-house/legacy</a:t>
              </a:r>
              <a:br>
                <a:rPr lang="en-US" sz="1554" kern="0">
                  <a:solidFill>
                    <a:srgbClr val="B9B8B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</a:br>
              <a:r>
                <a:rPr lang="en-US" sz="1554" kern="0">
                  <a:solidFill>
                    <a:srgbClr val="B9B8B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custom apps</a:t>
              </a:r>
            </a:p>
          </p:txBody>
        </p:sp>
        <p:sp>
          <p:nvSpPr>
            <p:cNvPr id="28" name="Title 3">
              <a:extLst>
                <a:ext uri="{FF2B5EF4-FFF2-40B4-BE49-F238E27FC236}">
                  <a16:creationId xmlns:a16="http://schemas.microsoft.com/office/drawing/2014/main" xmlns="" id="{D7EEE506-F34A-4726-B888-06D36EA14AD0}"/>
                </a:ext>
              </a:extLst>
            </p:cNvPr>
            <p:cNvSpPr txBox="1">
              <a:spLocks/>
            </p:cNvSpPr>
            <p:nvPr>
              <p:custDataLst>
                <p:tags r:id="rId23"/>
              </p:custDataLst>
            </p:nvPr>
          </p:nvSpPr>
          <p:spPr bwMode="black">
            <a:xfrm>
              <a:off x="2195610" y="272738"/>
              <a:ext cx="4300539" cy="1040357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lvl1pPr algn="l" defTabSz="950701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None/>
                <a:defRPr lang="en-GB" sz="5800" b="1" i="0" kern="1200" dirty="0" smtClean="0">
                  <a:solidFill>
                    <a:srgbClr val="000000"/>
                  </a:solidFill>
                  <a:latin typeface="HP Simplified" pitchFamily="34" charset="0"/>
                  <a:ea typeface="+mj-ea"/>
                  <a:cs typeface="HP Simplified" pitchFamily="34" charset="0"/>
                </a:defRPr>
              </a:lvl1pPr>
            </a:lstStyle>
            <a:p>
              <a:r>
                <a:rPr lang="en-US" sz="3200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SIEM</a:t>
              </a:r>
            </a:p>
          </p:txBody>
        </p:sp>
        <p:sp>
          <p:nvSpPr>
            <p:cNvPr id="29" name="Title 3">
              <a:extLst>
                <a:ext uri="{FF2B5EF4-FFF2-40B4-BE49-F238E27FC236}">
                  <a16:creationId xmlns:a16="http://schemas.microsoft.com/office/drawing/2014/main" xmlns="" id="{C5526F74-7432-4D00-A131-C1C93C1310AB}"/>
                </a:ext>
              </a:extLst>
            </p:cNvPr>
            <p:cNvSpPr txBox="1">
              <a:spLocks/>
            </p:cNvSpPr>
            <p:nvPr>
              <p:custDataLst>
                <p:tags r:id="rId24"/>
              </p:custDataLst>
            </p:nvPr>
          </p:nvSpPr>
          <p:spPr bwMode="black">
            <a:xfrm>
              <a:off x="2896862" y="2347501"/>
              <a:ext cx="3870784" cy="474432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lvl1pPr algn="l" defTabSz="4572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None/>
                <a:defRPr lang="en-GB" sz="2800" b="1" i="0" kern="1200" dirty="0" smtClean="0">
                  <a:solidFill>
                    <a:srgbClr val="000000"/>
                  </a:solidFill>
                  <a:latin typeface="HP Simplified" pitchFamily="34" charset="0"/>
                  <a:ea typeface="+mj-ea"/>
                  <a:cs typeface="HP Simplified" pitchFamily="34" charset="0"/>
                </a:defRPr>
              </a:lvl1pPr>
            </a:lstStyle>
            <a:p>
              <a:r>
                <a:rPr lang="sk-SK" sz="3200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L</a:t>
              </a:r>
              <a:r>
                <a:rPr lang="en-US" sz="3200" err="1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og</a:t>
              </a:r>
              <a:r>
                <a:rPr lang="en-US" sz="3200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 </a:t>
              </a:r>
              <a:r>
                <a:rPr lang="sk-SK" sz="3200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M</a:t>
              </a:r>
              <a:r>
                <a:rPr lang="en-US" sz="3200" err="1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anagement</a:t>
              </a:r>
              <a:endParaRPr lang="en-US" sz="3200">
                <a:solidFill>
                  <a:schemeClr val="tx2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30" name="Rectangle 459">
              <a:extLst>
                <a:ext uri="{FF2B5EF4-FFF2-40B4-BE49-F238E27FC236}">
                  <a16:creationId xmlns:a16="http://schemas.microsoft.com/office/drawing/2014/main" xmlns="" id="{864A75ED-CCF5-4CBE-B7AD-1C2A133C4545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 rot="16200000">
              <a:off x="5649369" y="3199605"/>
              <a:ext cx="1598381" cy="51017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algn="r" defTabSz="1014582">
                <a:defRPr/>
              </a:pPr>
              <a:r>
                <a:rPr lang="en-US" sz="1554" b="1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Applications</a:t>
              </a:r>
            </a:p>
          </p:txBody>
        </p:sp>
        <p:sp>
          <p:nvSpPr>
            <p:cNvPr id="31" name="Rectangle 460">
              <a:extLst>
                <a:ext uri="{FF2B5EF4-FFF2-40B4-BE49-F238E27FC236}">
                  <a16:creationId xmlns:a16="http://schemas.microsoft.com/office/drawing/2014/main" xmlns="" id="{0FF5759D-8EB9-451C-AD76-5D72F799289B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-637776" y="4508083"/>
              <a:ext cx="1427018" cy="41767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/>
              <a:r>
                <a:rPr lang="en-US" sz="1776" b="1" kern="0">
                  <a:solidFill>
                    <a:schemeClr val="accent5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350+ CEF partners</a:t>
              </a:r>
            </a:p>
          </p:txBody>
        </p:sp>
        <p:sp>
          <p:nvSpPr>
            <p:cNvPr id="32" name="Rectangle 463">
              <a:extLst>
                <a:ext uri="{FF2B5EF4-FFF2-40B4-BE49-F238E27FC236}">
                  <a16:creationId xmlns:a16="http://schemas.microsoft.com/office/drawing/2014/main" xmlns="" id="{5B8A0BC7-4334-49E3-B1FF-4C248B759CF9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 rot="16200000">
              <a:off x="6244788" y="1624200"/>
              <a:ext cx="1864262" cy="51017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>
                <a:defRPr/>
              </a:pPr>
              <a:r>
                <a:rPr lang="en-GB" sz="3108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Big Data</a:t>
              </a:r>
              <a:endParaRPr lang="en-US" sz="3108" kern="0">
                <a:solidFill>
                  <a:srgbClr val="87898B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33" name="Rectangle 464">
              <a:extLst>
                <a:ext uri="{FF2B5EF4-FFF2-40B4-BE49-F238E27FC236}">
                  <a16:creationId xmlns:a16="http://schemas.microsoft.com/office/drawing/2014/main" xmlns="" id="{886AAF8D-DE51-4938-AB05-615726C39A86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7160470" y="4362448"/>
              <a:ext cx="1104674" cy="55592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/>
              <a:r>
                <a:rPr lang="en-US" sz="1554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Cloud security</a:t>
              </a:r>
            </a:p>
          </p:txBody>
        </p:sp>
        <p:sp>
          <p:nvSpPr>
            <p:cNvPr id="34" name="Rectangle 465">
              <a:extLst>
                <a:ext uri="{FF2B5EF4-FFF2-40B4-BE49-F238E27FC236}">
                  <a16:creationId xmlns:a16="http://schemas.microsoft.com/office/drawing/2014/main" xmlns="" id="{6F168490-3A08-4720-BB94-2552B6F09EA3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 rot="16200000">
              <a:off x="7060391" y="3328454"/>
              <a:ext cx="1627648" cy="51017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>
                <a:defRPr/>
              </a:pPr>
              <a:r>
                <a:rPr lang="en-US" sz="1998" kern="0">
                  <a:solidFill>
                    <a:srgbClr val="B9B8B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Insider threats</a:t>
              </a:r>
              <a:endParaRPr lang="en-US" sz="2220" kern="0">
                <a:solidFill>
                  <a:srgbClr val="B9B8BB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grpSp>
          <p:nvGrpSpPr>
            <p:cNvPr id="35" name="Group 81">
              <a:extLst>
                <a:ext uri="{FF2B5EF4-FFF2-40B4-BE49-F238E27FC236}">
                  <a16:creationId xmlns:a16="http://schemas.microsoft.com/office/drawing/2014/main" xmlns="" id="{1B8816E5-F350-492A-B15D-FED95EC3843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434709" y="3821186"/>
              <a:ext cx="248841" cy="244970"/>
              <a:chOff x="3342835" y="4059235"/>
              <a:chExt cx="400931" cy="394580"/>
            </a:xfrm>
          </p:grpSpPr>
          <p:sp>
            <p:nvSpPr>
              <p:cNvPr id="89" name="Oval 122">
                <a:extLst>
                  <a:ext uri="{FF2B5EF4-FFF2-40B4-BE49-F238E27FC236}">
                    <a16:creationId xmlns:a16="http://schemas.microsoft.com/office/drawing/2014/main" xmlns="" id="{A7C1D0A2-CDC4-4F84-ABA4-18713888E73C}"/>
                  </a:ext>
                </a:extLst>
              </p:cNvPr>
              <p:cNvSpPr/>
              <p:nvPr/>
            </p:nvSpPr>
            <p:spPr>
              <a:xfrm>
                <a:off x="3370971" y="4085596"/>
                <a:ext cx="345299" cy="34264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07523">
                  <a:defRPr/>
                </a:pPr>
                <a:endParaRPr lang="en-US" sz="1776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90" name="Oval 123">
                <a:extLst>
                  <a:ext uri="{FF2B5EF4-FFF2-40B4-BE49-F238E27FC236}">
                    <a16:creationId xmlns:a16="http://schemas.microsoft.com/office/drawing/2014/main" xmlns="" id="{D9F1BD54-B5FD-4E2E-9850-4EFE86F0D610}"/>
                  </a:ext>
                </a:extLst>
              </p:cNvPr>
              <p:cNvSpPr/>
              <p:nvPr/>
            </p:nvSpPr>
            <p:spPr>
              <a:xfrm>
                <a:off x="3455377" y="4169985"/>
                <a:ext cx="176485" cy="1738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07523">
                  <a:defRPr/>
                </a:pPr>
                <a:endParaRPr lang="en-US" sz="1776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grpSp>
            <p:nvGrpSpPr>
              <p:cNvPr id="91" name="Group 108">
                <a:extLst>
                  <a:ext uri="{FF2B5EF4-FFF2-40B4-BE49-F238E27FC236}">
                    <a16:creationId xmlns:a16="http://schemas.microsoft.com/office/drawing/2014/main" xmlns="" id="{09CB58AF-A462-4B45-865A-7112A7EB555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483380" y="4059235"/>
                <a:ext cx="119840" cy="394580"/>
                <a:chOff x="3411942" y="4006410"/>
                <a:chExt cx="119840" cy="394580"/>
              </a:xfrm>
            </p:grpSpPr>
            <p:sp>
              <p:nvSpPr>
                <p:cNvPr id="98" name="Trapezoid 131">
                  <a:extLst>
                    <a:ext uri="{FF2B5EF4-FFF2-40B4-BE49-F238E27FC236}">
                      <a16:creationId xmlns:a16="http://schemas.microsoft.com/office/drawing/2014/main" xmlns="" id="{147EDAF7-06F0-4513-8D7C-3D624C70F58D}"/>
                    </a:ext>
                  </a:extLst>
                </p:cNvPr>
                <p:cNvSpPr/>
                <p:nvPr/>
              </p:nvSpPr>
              <p:spPr>
                <a:xfrm>
                  <a:off x="3412074" y="4007207"/>
                  <a:ext cx="120215" cy="6136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99" name="Trapezoid 132">
                  <a:extLst>
                    <a:ext uri="{FF2B5EF4-FFF2-40B4-BE49-F238E27FC236}">
                      <a16:creationId xmlns:a16="http://schemas.microsoft.com/office/drawing/2014/main" xmlns="" id="{6FC329EF-6295-42DB-B0D9-E2F6BB0E7E9B}"/>
                    </a:ext>
                  </a:extLst>
                </p:cNvPr>
                <p:cNvSpPr/>
                <p:nvPr/>
              </p:nvSpPr>
              <p:spPr>
                <a:xfrm flipV="1">
                  <a:off x="3412074" y="4339621"/>
                  <a:ext cx="120215" cy="6136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92" name="Group 109">
                <a:extLst>
                  <a:ext uri="{FF2B5EF4-FFF2-40B4-BE49-F238E27FC236}">
                    <a16:creationId xmlns:a16="http://schemas.microsoft.com/office/drawing/2014/main" xmlns="" id="{412C118D-5EAF-4B95-A3C7-CFBC44E3AE6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800000">
                <a:off x="3342835" y="4196605"/>
                <a:ext cx="400931" cy="119841"/>
                <a:chOff x="3266635" y="4142194"/>
                <a:chExt cx="400931" cy="119841"/>
              </a:xfrm>
            </p:grpSpPr>
            <p:sp>
              <p:nvSpPr>
                <p:cNvPr id="96" name="Trapezoid 129">
                  <a:extLst>
                    <a:ext uri="{FF2B5EF4-FFF2-40B4-BE49-F238E27FC236}">
                      <a16:creationId xmlns:a16="http://schemas.microsoft.com/office/drawing/2014/main" xmlns="" id="{AEA55E4E-DD29-4A62-AB1E-A8EE2D040A6E}"/>
                    </a:ext>
                  </a:extLst>
                </p:cNvPr>
                <p:cNvSpPr/>
                <p:nvPr/>
              </p:nvSpPr>
              <p:spPr>
                <a:xfrm rot="5400000" flipV="1">
                  <a:off x="3236339" y="4170002"/>
                  <a:ext cx="115067" cy="61386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97" name="Trapezoid 130">
                  <a:extLst>
                    <a:ext uri="{FF2B5EF4-FFF2-40B4-BE49-F238E27FC236}">
                      <a16:creationId xmlns:a16="http://schemas.microsoft.com/office/drawing/2014/main" xmlns="" id="{40754D12-7B81-4D2D-BD8C-B6CCA7CAB67D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78975" y="4170063"/>
                  <a:ext cx="115065" cy="61386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93" name="Group 110">
                <a:extLst>
                  <a:ext uri="{FF2B5EF4-FFF2-40B4-BE49-F238E27FC236}">
                    <a16:creationId xmlns:a16="http://schemas.microsoft.com/office/drawing/2014/main" xmlns="" id="{27866D12-0473-4013-8575-BC3272FDB12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9800000" flipH="1">
                <a:off x="3342835" y="4196605"/>
                <a:ext cx="400931" cy="119841"/>
                <a:chOff x="3266635" y="4142194"/>
                <a:chExt cx="400931" cy="119841"/>
              </a:xfrm>
            </p:grpSpPr>
            <p:sp>
              <p:nvSpPr>
                <p:cNvPr id="94" name="Trapezoid 127">
                  <a:extLst>
                    <a:ext uri="{FF2B5EF4-FFF2-40B4-BE49-F238E27FC236}">
                      <a16:creationId xmlns:a16="http://schemas.microsoft.com/office/drawing/2014/main" xmlns="" id="{CC44440D-4C0A-4553-AE6E-8DF569D712CA}"/>
                    </a:ext>
                  </a:extLst>
                </p:cNvPr>
                <p:cNvSpPr/>
                <p:nvPr/>
              </p:nvSpPr>
              <p:spPr>
                <a:xfrm rot="5400000" flipV="1">
                  <a:off x="3239281" y="4171257"/>
                  <a:ext cx="115065" cy="61386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95" name="Trapezoid 128">
                  <a:extLst>
                    <a:ext uri="{FF2B5EF4-FFF2-40B4-BE49-F238E27FC236}">
                      <a16:creationId xmlns:a16="http://schemas.microsoft.com/office/drawing/2014/main" xmlns="" id="{A95F9995-849B-4FBE-BC0F-EA21B6C61533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81916" y="4171318"/>
                  <a:ext cx="115067" cy="61386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</p:grpSp>
        <p:grpSp>
          <p:nvGrpSpPr>
            <p:cNvPr id="36" name="Group 82">
              <a:extLst>
                <a:ext uri="{FF2B5EF4-FFF2-40B4-BE49-F238E27FC236}">
                  <a16:creationId xmlns:a16="http://schemas.microsoft.com/office/drawing/2014/main" xmlns="" id="{01013DC7-1860-41EE-AC5A-A6A7BB25A97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00119" y="3613719"/>
              <a:ext cx="249386" cy="244970"/>
              <a:chOff x="3341957" y="4059235"/>
              <a:chExt cx="401809" cy="394580"/>
            </a:xfrm>
          </p:grpSpPr>
          <p:sp>
            <p:nvSpPr>
              <p:cNvPr id="78" name="Oval 111">
                <a:extLst>
                  <a:ext uri="{FF2B5EF4-FFF2-40B4-BE49-F238E27FC236}">
                    <a16:creationId xmlns:a16="http://schemas.microsoft.com/office/drawing/2014/main" xmlns="" id="{88ABAF70-7D4A-4508-8ECC-344C32A95CB7}"/>
                  </a:ext>
                </a:extLst>
              </p:cNvPr>
              <p:cNvSpPr/>
              <p:nvPr/>
            </p:nvSpPr>
            <p:spPr>
              <a:xfrm>
                <a:off x="3372151" y="4084805"/>
                <a:ext cx="342741" cy="34264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07523">
                  <a:defRPr/>
                </a:pPr>
                <a:endParaRPr lang="en-US" sz="1776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79" name="Oval 112">
                <a:extLst>
                  <a:ext uri="{FF2B5EF4-FFF2-40B4-BE49-F238E27FC236}">
                    <a16:creationId xmlns:a16="http://schemas.microsoft.com/office/drawing/2014/main" xmlns="" id="{10C9A360-5576-47AC-B72E-5706F7A0C532}"/>
                  </a:ext>
                </a:extLst>
              </p:cNvPr>
              <p:cNvSpPr/>
              <p:nvPr/>
            </p:nvSpPr>
            <p:spPr>
              <a:xfrm>
                <a:off x="3456556" y="4169187"/>
                <a:ext cx="173928" cy="1738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07523">
                  <a:defRPr/>
                </a:pPr>
                <a:endParaRPr lang="en-US" sz="1776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grpSp>
            <p:nvGrpSpPr>
              <p:cNvPr id="80" name="Group 97">
                <a:extLst>
                  <a:ext uri="{FF2B5EF4-FFF2-40B4-BE49-F238E27FC236}">
                    <a16:creationId xmlns:a16="http://schemas.microsoft.com/office/drawing/2014/main" xmlns="" id="{0DA5A344-0485-4504-AC65-EB7F2E53337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483380" y="4059235"/>
                <a:ext cx="119840" cy="394580"/>
                <a:chOff x="3411942" y="4006410"/>
                <a:chExt cx="119840" cy="394580"/>
              </a:xfrm>
            </p:grpSpPr>
            <p:sp>
              <p:nvSpPr>
                <p:cNvPr id="87" name="Trapezoid 120">
                  <a:extLst>
                    <a:ext uri="{FF2B5EF4-FFF2-40B4-BE49-F238E27FC236}">
                      <a16:creationId xmlns:a16="http://schemas.microsoft.com/office/drawing/2014/main" xmlns="" id="{8BB296B0-4E21-42D6-AA88-05BA60A42626}"/>
                    </a:ext>
                  </a:extLst>
                </p:cNvPr>
                <p:cNvSpPr/>
                <p:nvPr/>
              </p:nvSpPr>
              <p:spPr>
                <a:xfrm>
                  <a:off x="3415812" y="4006410"/>
                  <a:ext cx="115100" cy="6136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88" name="Trapezoid 121">
                  <a:extLst>
                    <a:ext uri="{FF2B5EF4-FFF2-40B4-BE49-F238E27FC236}">
                      <a16:creationId xmlns:a16="http://schemas.microsoft.com/office/drawing/2014/main" xmlns="" id="{8170C4D8-FAB7-454F-892D-A6E86F8E5151}"/>
                    </a:ext>
                  </a:extLst>
                </p:cNvPr>
                <p:cNvSpPr/>
                <p:nvPr/>
              </p:nvSpPr>
              <p:spPr>
                <a:xfrm flipV="1">
                  <a:off x="3415812" y="4338824"/>
                  <a:ext cx="115100" cy="6136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81" name="Group 98">
                <a:extLst>
                  <a:ext uri="{FF2B5EF4-FFF2-40B4-BE49-F238E27FC236}">
                    <a16:creationId xmlns:a16="http://schemas.microsoft.com/office/drawing/2014/main" xmlns="" id="{C4F5B1F1-9565-4210-809C-26D78A24B55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800000">
                <a:off x="3341957" y="4196870"/>
                <a:ext cx="398155" cy="115339"/>
                <a:chOff x="3265068" y="4143858"/>
                <a:chExt cx="398155" cy="115339"/>
              </a:xfrm>
            </p:grpSpPr>
            <p:sp>
              <p:nvSpPr>
                <p:cNvPr id="85" name="Trapezoid 118">
                  <a:extLst>
                    <a:ext uri="{FF2B5EF4-FFF2-40B4-BE49-F238E27FC236}">
                      <a16:creationId xmlns:a16="http://schemas.microsoft.com/office/drawing/2014/main" xmlns="" id="{2FD050CD-2155-4941-8742-67878ECEF633}"/>
                    </a:ext>
                  </a:extLst>
                </p:cNvPr>
                <p:cNvSpPr/>
                <p:nvPr/>
              </p:nvSpPr>
              <p:spPr>
                <a:xfrm rot="5400000" flipV="1">
                  <a:off x="3238227" y="4170971"/>
                  <a:ext cx="115067" cy="6138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86" name="Trapezoid 119">
                  <a:extLst>
                    <a:ext uri="{FF2B5EF4-FFF2-40B4-BE49-F238E27FC236}">
                      <a16:creationId xmlns:a16="http://schemas.microsoft.com/office/drawing/2014/main" xmlns="" id="{7AAB98D6-95C6-4DC3-AA98-D60812CB867D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76275" y="4171978"/>
                  <a:ext cx="115067" cy="58828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82" name="Group 99">
                <a:extLst>
                  <a:ext uri="{FF2B5EF4-FFF2-40B4-BE49-F238E27FC236}">
                    <a16:creationId xmlns:a16="http://schemas.microsoft.com/office/drawing/2014/main" xmlns="" id="{5E07F301-EDF0-4FAF-B57E-E1BA5F2915F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9800000" flipH="1">
                <a:off x="3342835" y="4196605"/>
                <a:ext cx="400931" cy="119841"/>
                <a:chOff x="3266635" y="4142194"/>
                <a:chExt cx="400931" cy="119841"/>
              </a:xfrm>
            </p:grpSpPr>
            <p:sp>
              <p:nvSpPr>
                <p:cNvPr id="83" name="Trapezoid 116">
                  <a:extLst>
                    <a:ext uri="{FF2B5EF4-FFF2-40B4-BE49-F238E27FC236}">
                      <a16:creationId xmlns:a16="http://schemas.microsoft.com/office/drawing/2014/main" xmlns="" id="{BC9ADAE4-52B8-4CAB-9443-F95671F5969B}"/>
                    </a:ext>
                  </a:extLst>
                </p:cNvPr>
                <p:cNvSpPr/>
                <p:nvPr/>
              </p:nvSpPr>
              <p:spPr>
                <a:xfrm rot="5400000" flipV="1">
                  <a:off x="3240073" y="4169877"/>
                  <a:ext cx="115067" cy="61386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84" name="Trapezoid 117">
                  <a:extLst>
                    <a:ext uri="{FF2B5EF4-FFF2-40B4-BE49-F238E27FC236}">
                      <a16:creationId xmlns:a16="http://schemas.microsoft.com/office/drawing/2014/main" xmlns="" id="{2EFCD55F-DE2C-4900-8980-20AC5A24D624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79216" y="4169001"/>
                  <a:ext cx="115067" cy="61386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</p:grpSp>
        <p:grpSp>
          <p:nvGrpSpPr>
            <p:cNvPr id="37" name="Group 83">
              <a:extLst>
                <a:ext uri="{FF2B5EF4-FFF2-40B4-BE49-F238E27FC236}">
                  <a16:creationId xmlns:a16="http://schemas.microsoft.com/office/drawing/2014/main" xmlns="" id="{65BA08C7-E5FC-4D85-A164-3282D754B9A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93838" y="3872393"/>
              <a:ext cx="186958" cy="184049"/>
              <a:chOff x="3342835" y="4059235"/>
              <a:chExt cx="400931" cy="394580"/>
            </a:xfrm>
          </p:grpSpPr>
          <p:sp>
            <p:nvSpPr>
              <p:cNvPr id="67" name="Oval 100">
                <a:extLst>
                  <a:ext uri="{FF2B5EF4-FFF2-40B4-BE49-F238E27FC236}">
                    <a16:creationId xmlns:a16="http://schemas.microsoft.com/office/drawing/2014/main" xmlns="" id="{58BFD4E0-AEC8-47CD-8A23-2C2AE054AF3E}"/>
                  </a:ext>
                </a:extLst>
              </p:cNvPr>
              <p:cNvSpPr/>
              <p:nvPr/>
            </p:nvSpPr>
            <p:spPr>
              <a:xfrm>
                <a:off x="3369283" y="4083249"/>
                <a:ext cx="347248" cy="347149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07523">
                  <a:defRPr/>
                </a:pPr>
                <a:endParaRPr lang="en-US" sz="1776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68" name="Oval 101">
                <a:extLst>
                  <a:ext uri="{FF2B5EF4-FFF2-40B4-BE49-F238E27FC236}">
                    <a16:creationId xmlns:a16="http://schemas.microsoft.com/office/drawing/2014/main" xmlns="" id="{096FBE8D-B0D9-4290-95B1-EDCDF3527B26}"/>
                  </a:ext>
                </a:extLst>
              </p:cNvPr>
              <p:cNvSpPr/>
              <p:nvPr/>
            </p:nvSpPr>
            <p:spPr>
              <a:xfrm>
                <a:off x="3454393" y="4168333"/>
                <a:ext cx="177028" cy="17697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07523">
                  <a:defRPr/>
                </a:pPr>
                <a:endParaRPr lang="en-US" sz="1776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grpSp>
            <p:nvGrpSpPr>
              <p:cNvPr id="69" name="Group 86">
                <a:extLst>
                  <a:ext uri="{FF2B5EF4-FFF2-40B4-BE49-F238E27FC236}">
                    <a16:creationId xmlns:a16="http://schemas.microsoft.com/office/drawing/2014/main" xmlns="" id="{9C9B60AC-F545-4E62-AD8A-60C2AB9C9BB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483380" y="4059235"/>
                <a:ext cx="119840" cy="394580"/>
                <a:chOff x="3411942" y="4006410"/>
                <a:chExt cx="119840" cy="394580"/>
              </a:xfrm>
            </p:grpSpPr>
            <p:sp>
              <p:nvSpPr>
                <p:cNvPr id="76" name="Trapezoid 109">
                  <a:extLst>
                    <a:ext uri="{FF2B5EF4-FFF2-40B4-BE49-F238E27FC236}">
                      <a16:creationId xmlns:a16="http://schemas.microsoft.com/office/drawing/2014/main" xmlns="" id="{BEE1564F-B9C5-4AEA-8DE4-54A6FDEF0E36}"/>
                    </a:ext>
                  </a:extLst>
                </p:cNvPr>
                <p:cNvSpPr/>
                <p:nvPr/>
              </p:nvSpPr>
              <p:spPr>
                <a:xfrm>
                  <a:off x="3406787" y="4006599"/>
                  <a:ext cx="125962" cy="61262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77" name="Trapezoid 110">
                  <a:extLst>
                    <a:ext uri="{FF2B5EF4-FFF2-40B4-BE49-F238E27FC236}">
                      <a16:creationId xmlns:a16="http://schemas.microsoft.com/office/drawing/2014/main" xmlns="" id="{BD7B95CF-72E3-4867-89B7-6F63A94924B1}"/>
                    </a:ext>
                  </a:extLst>
                </p:cNvPr>
                <p:cNvSpPr/>
                <p:nvPr/>
              </p:nvSpPr>
              <p:spPr>
                <a:xfrm flipV="1">
                  <a:off x="3406787" y="4340134"/>
                  <a:ext cx="125962" cy="61262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70" name="Group 87">
                <a:extLst>
                  <a:ext uri="{FF2B5EF4-FFF2-40B4-BE49-F238E27FC236}">
                    <a16:creationId xmlns:a16="http://schemas.microsoft.com/office/drawing/2014/main" xmlns="" id="{43DC8742-E81D-4086-9290-171B063897F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800000">
                <a:off x="3342835" y="4196605"/>
                <a:ext cx="400931" cy="119841"/>
                <a:chOff x="3266635" y="4142194"/>
                <a:chExt cx="400931" cy="119841"/>
              </a:xfrm>
            </p:grpSpPr>
            <p:sp>
              <p:nvSpPr>
                <p:cNvPr id="74" name="Trapezoid 107">
                  <a:extLst>
                    <a:ext uri="{FF2B5EF4-FFF2-40B4-BE49-F238E27FC236}">
                      <a16:creationId xmlns:a16="http://schemas.microsoft.com/office/drawing/2014/main" xmlns="" id="{7B356464-D0E0-4C82-9C5A-E70D89354AC0}"/>
                    </a:ext>
                  </a:extLst>
                </p:cNvPr>
                <p:cNvSpPr/>
                <p:nvPr/>
              </p:nvSpPr>
              <p:spPr>
                <a:xfrm rot="5400000" flipV="1">
                  <a:off x="3227867" y="4173344"/>
                  <a:ext cx="125927" cy="6127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75" name="Trapezoid 108">
                  <a:extLst>
                    <a:ext uri="{FF2B5EF4-FFF2-40B4-BE49-F238E27FC236}">
                      <a16:creationId xmlns:a16="http://schemas.microsoft.com/office/drawing/2014/main" xmlns="" id="{D5C03866-807F-4EFA-A1CD-C3FAAB310546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69477" y="4172668"/>
                  <a:ext cx="125927" cy="6127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71" name="Group 88">
                <a:extLst>
                  <a:ext uri="{FF2B5EF4-FFF2-40B4-BE49-F238E27FC236}">
                    <a16:creationId xmlns:a16="http://schemas.microsoft.com/office/drawing/2014/main" xmlns="" id="{0EB8D57A-A077-494E-8D18-17B8FB78F9E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9800000" flipH="1">
                <a:off x="3342835" y="4196605"/>
                <a:ext cx="400931" cy="119841"/>
                <a:chOff x="3266635" y="4142194"/>
                <a:chExt cx="400931" cy="119841"/>
              </a:xfrm>
            </p:grpSpPr>
            <p:sp>
              <p:nvSpPr>
                <p:cNvPr id="72" name="Trapezoid 105">
                  <a:extLst>
                    <a:ext uri="{FF2B5EF4-FFF2-40B4-BE49-F238E27FC236}">
                      <a16:creationId xmlns:a16="http://schemas.microsoft.com/office/drawing/2014/main" xmlns="" id="{33163945-97E5-4D6D-88B6-7980FEC10E91}"/>
                    </a:ext>
                  </a:extLst>
                </p:cNvPr>
                <p:cNvSpPr/>
                <p:nvPr/>
              </p:nvSpPr>
              <p:spPr>
                <a:xfrm rot="5400000" flipV="1">
                  <a:off x="3234442" y="4169550"/>
                  <a:ext cx="125927" cy="6127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73" name="Trapezoid 106">
                  <a:extLst>
                    <a:ext uri="{FF2B5EF4-FFF2-40B4-BE49-F238E27FC236}">
                      <a16:creationId xmlns:a16="http://schemas.microsoft.com/office/drawing/2014/main" xmlns="" id="{A5554C3F-663A-425D-B0BA-B3ADB5ABD9E2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79001" y="4167172"/>
                  <a:ext cx="125927" cy="6127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</p:grpSp>
        <p:grpSp>
          <p:nvGrpSpPr>
            <p:cNvPr id="38" name="Group 132">
              <a:extLst>
                <a:ext uri="{FF2B5EF4-FFF2-40B4-BE49-F238E27FC236}">
                  <a16:creationId xmlns:a16="http://schemas.microsoft.com/office/drawing/2014/main" xmlns="" id="{03E912C1-54D0-40FE-8B1F-17BB1DFEBEE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0553" y="2307306"/>
              <a:ext cx="681038" cy="681038"/>
              <a:chOff x="3717247" y="1022302"/>
              <a:chExt cx="681026" cy="681025"/>
            </a:xfrm>
          </p:grpSpPr>
          <p:sp>
            <p:nvSpPr>
              <p:cNvPr id="64" name="Freeform 9">
                <a:extLst>
                  <a:ext uri="{FF2B5EF4-FFF2-40B4-BE49-F238E27FC236}">
                    <a16:creationId xmlns:a16="http://schemas.microsoft.com/office/drawing/2014/main" xmlns="" id="{4188E685-A0D6-430E-83EC-6FF076A8D7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7247" y="1022302"/>
                <a:ext cx="681026" cy="521460"/>
              </a:xfrm>
              <a:custGeom>
                <a:avLst/>
                <a:gdLst>
                  <a:gd name="T0" fmla="*/ 530890723 w 209"/>
                  <a:gd name="T1" fmla="*/ 1306491957 h 160"/>
                  <a:gd name="T2" fmla="*/ 637068867 w 209"/>
                  <a:gd name="T3" fmla="*/ 870994638 h 160"/>
                  <a:gd name="T4" fmla="*/ 679540125 w 209"/>
                  <a:gd name="T5" fmla="*/ 839130173 h 160"/>
                  <a:gd name="T6" fmla="*/ 711391939 w 209"/>
                  <a:gd name="T7" fmla="*/ 870994638 h 160"/>
                  <a:gd name="T8" fmla="*/ 796334455 w 209"/>
                  <a:gd name="T9" fmla="*/ 1402091871 h 160"/>
                  <a:gd name="T10" fmla="*/ 881276970 w 209"/>
                  <a:gd name="T11" fmla="*/ 594826163 h 160"/>
                  <a:gd name="T12" fmla="*/ 913132043 w 209"/>
                  <a:gd name="T13" fmla="*/ 562961698 h 160"/>
                  <a:gd name="T14" fmla="*/ 913132043 w 209"/>
                  <a:gd name="T15" fmla="*/ 562961698 h 160"/>
                  <a:gd name="T16" fmla="*/ 944983857 w 209"/>
                  <a:gd name="T17" fmla="*/ 605447651 h 160"/>
                  <a:gd name="T18" fmla="*/ 998074559 w 209"/>
                  <a:gd name="T19" fmla="*/ 1274627492 h 160"/>
                  <a:gd name="T20" fmla="*/ 1029926373 w 209"/>
                  <a:gd name="T21" fmla="*/ 902862362 h 160"/>
                  <a:gd name="T22" fmla="*/ 1072397631 w 209"/>
                  <a:gd name="T23" fmla="*/ 860373150 h 160"/>
                  <a:gd name="T24" fmla="*/ 1104252703 w 209"/>
                  <a:gd name="T25" fmla="*/ 902862362 h 160"/>
                  <a:gd name="T26" fmla="*/ 1136104517 w 209"/>
                  <a:gd name="T27" fmla="*/ 1412713359 h 160"/>
                  <a:gd name="T28" fmla="*/ 1274137735 w 209"/>
                  <a:gd name="T29" fmla="*/ 552336950 h 160"/>
                  <a:gd name="T30" fmla="*/ 1316608992 w 209"/>
                  <a:gd name="T31" fmla="*/ 520472485 h 160"/>
                  <a:gd name="T32" fmla="*/ 1348460806 w 209"/>
                  <a:gd name="T33" fmla="*/ 552336950 h 160"/>
                  <a:gd name="T34" fmla="*/ 1401551508 w 209"/>
                  <a:gd name="T35" fmla="*/ 1402091871 h 160"/>
                  <a:gd name="T36" fmla="*/ 1433403322 w 209"/>
                  <a:gd name="T37" fmla="*/ 860373150 h 160"/>
                  <a:gd name="T38" fmla="*/ 1465258395 w 209"/>
                  <a:gd name="T39" fmla="*/ 828508685 h 160"/>
                  <a:gd name="T40" fmla="*/ 1465258395 w 209"/>
                  <a:gd name="T41" fmla="*/ 828508685 h 160"/>
                  <a:gd name="T42" fmla="*/ 1507729653 w 209"/>
                  <a:gd name="T43" fmla="*/ 860373150 h 160"/>
                  <a:gd name="T44" fmla="*/ 1603288353 w 209"/>
                  <a:gd name="T45" fmla="*/ 1699503323 h 160"/>
                  <a:gd name="T46" fmla="*/ 1730702127 w 209"/>
                  <a:gd name="T47" fmla="*/ 701044306 h 160"/>
                  <a:gd name="T48" fmla="*/ 1773173385 w 209"/>
                  <a:gd name="T49" fmla="*/ 669179841 h 160"/>
                  <a:gd name="T50" fmla="*/ 1805028457 w 209"/>
                  <a:gd name="T51" fmla="*/ 711665794 h 160"/>
                  <a:gd name="T52" fmla="*/ 1868735344 w 209"/>
                  <a:gd name="T53" fmla="*/ 1295870469 h 160"/>
                  <a:gd name="T54" fmla="*/ 2147483647 w 209"/>
                  <a:gd name="T55" fmla="*/ 1295870469 h 160"/>
                  <a:gd name="T56" fmla="*/ 2147483647 w 209"/>
                  <a:gd name="T57" fmla="*/ 1104677160 h 160"/>
                  <a:gd name="T58" fmla="*/ 1114868888 w 209"/>
                  <a:gd name="T59" fmla="*/ 0 h 160"/>
                  <a:gd name="T60" fmla="*/ 0 w 209"/>
                  <a:gd name="T61" fmla="*/ 1104677160 h 160"/>
                  <a:gd name="T62" fmla="*/ 21235629 w 209"/>
                  <a:gd name="T63" fmla="*/ 1306491957 h 160"/>
                  <a:gd name="T64" fmla="*/ 530890723 w 209"/>
                  <a:gd name="T65" fmla="*/ 1306491957 h 16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09"/>
                  <a:gd name="T100" fmla="*/ 0 h 160"/>
                  <a:gd name="T101" fmla="*/ 209 w 209"/>
                  <a:gd name="T102" fmla="*/ 160 h 16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09" h="160">
                    <a:moveTo>
                      <a:pt x="50" y="123"/>
                    </a:moveTo>
                    <a:cubicBezTo>
                      <a:pt x="60" y="82"/>
                      <a:pt x="60" y="82"/>
                      <a:pt x="60" y="82"/>
                    </a:cubicBezTo>
                    <a:cubicBezTo>
                      <a:pt x="61" y="80"/>
                      <a:pt x="62" y="79"/>
                      <a:pt x="64" y="79"/>
                    </a:cubicBezTo>
                    <a:cubicBezTo>
                      <a:pt x="65" y="79"/>
                      <a:pt x="67" y="80"/>
                      <a:pt x="67" y="82"/>
                    </a:cubicBezTo>
                    <a:cubicBezTo>
                      <a:pt x="75" y="132"/>
                      <a:pt x="75" y="132"/>
                      <a:pt x="75" y="132"/>
                    </a:cubicBezTo>
                    <a:cubicBezTo>
                      <a:pt x="83" y="56"/>
                      <a:pt x="83" y="56"/>
                      <a:pt x="83" y="56"/>
                    </a:cubicBezTo>
                    <a:cubicBezTo>
                      <a:pt x="83" y="55"/>
                      <a:pt x="84" y="53"/>
                      <a:pt x="86" y="53"/>
                    </a:cubicBezTo>
                    <a:cubicBezTo>
                      <a:pt x="86" y="53"/>
                      <a:pt x="86" y="53"/>
                      <a:pt x="86" y="53"/>
                    </a:cubicBezTo>
                    <a:cubicBezTo>
                      <a:pt x="88" y="53"/>
                      <a:pt x="89" y="55"/>
                      <a:pt x="89" y="57"/>
                    </a:cubicBezTo>
                    <a:cubicBezTo>
                      <a:pt x="94" y="120"/>
                      <a:pt x="94" y="120"/>
                      <a:pt x="94" y="120"/>
                    </a:cubicBezTo>
                    <a:cubicBezTo>
                      <a:pt x="97" y="85"/>
                      <a:pt x="97" y="85"/>
                      <a:pt x="97" y="85"/>
                    </a:cubicBezTo>
                    <a:cubicBezTo>
                      <a:pt x="97" y="83"/>
                      <a:pt x="99" y="81"/>
                      <a:pt x="101" y="81"/>
                    </a:cubicBezTo>
                    <a:cubicBezTo>
                      <a:pt x="103" y="81"/>
                      <a:pt x="104" y="83"/>
                      <a:pt x="104" y="85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20" y="52"/>
                      <a:pt x="120" y="52"/>
                      <a:pt x="120" y="52"/>
                    </a:cubicBezTo>
                    <a:cubicBezTo>
                      <a:pt x="120" y="50"/>
                      <a:pt x="122" y="49"/>
                      <a:pt x="124" y="49"/>
                    </a:cubicBezTo>
                    <a:cubicBezTo>
                      <a:pt x="126" y="49"/>
                      <a:pt x="127" y="50"/>
                      <a:pt x="127" y="52"/>
                    </a:cubicBezTo>
                    <a:cubicBezTo>
                      <a:pt x="132" y="132"/>
                      <a:pt x="132" y="132"/>
                      <a:pt x="132" y="132"/>
                    </a:cubicBezTo>
                    <a:cubicBezTo>
                      <a:pt x="135" y="81"/>
                      <a:pt x="135" y="81"/>
                      <a:pt x="135" y="81"/>
                    </a:cubicBezTo>
                    <a:cubicBezTo>
                      <a:pt x="135" y="80"/>
                      <a:pt x="136" y="78"/>
                      <a:pt x="138" y="78"/>
                    </a:cubicBezTo>
                    <a:cubicBezTo>
                      <a:pt x="138" y="78"/>
                      <a:pt x="138" y="78"/>
                      <a:pt x="138" y="78"/>
                    </a:cubicBezTo>
                    <a:cubicBezTo>
                      <a:pt x="140" y="78"/>
                      <a:pt x="142" y="79"/>
                      <a:pt x="142" y="81"/>
                    </a:cubicBezTo>
                    <a:cubicBezTo>
                      <a:pt x="151" y="160"/>
                      <a:pt x="151" y="160"/>
                      <a:pt x="151" y="160"/>
                    </a:cubicBezTo>
                    <a:cubicBezTo>
                      <a:pt x="163" y="66"/>
                      <a:pt x="163" y="66"/>
                      <a:pt x="163" y="66"/>
                    </a:cubicBezTo>
                    <a:cubicBezTo>
                      <a:pt x="164" y="65"/>
                      <a:pt x="165" y="63"/>
                      <a:pt x="167" y="63"/>
                    </a:cubicBezTo>
                    <a:cubicBezTo>
                      <a:pt x="169" y="63"/>
                      <a:pt x="170" y="65"/>
                      <a:pt x="170" y="67"/>
                    </a:cubicBezTo>
                    <a:cubicBezTo>
                      <a:pt x="176" y="122"/>
                      <a:pt x="176" y="122"/>
                      <a:pt x="176" y="122"/>
                    </a:cubicBezTo>
                    <a:cubicBezTo>
                      <a:pt x="208" y="122"/>
                      <a:pt x="208" y="122"/>
                      <a:pt x="208" y="122"/>
                    </a:cubicBezTo>
                    <a:cubicBezTo>
                      <a:pt x="209" y="116"/>
                      <a:pt x="209" y="110"/>
                      <a:pt x="209" y="104"/>
                    </a:cubicBezTo>
                    <a:cubicBezTo>
                      <a:pt x="209" y="46"/>
                      <a:pt x="163" y="0"/>
                      <a:pt x="105" y="0"/>
                    </a:cubicBezTo>
                    <a:cubicBezTo>
                      <a:pt x="47" y="0"/>
                      <a:pt x="0" y="46"/>
                      <a:pt x="0" y="104"/>
                    </a:cubicBezTo>
                    <a:cubicBezTo>
                      <a:pt x="0" y="111"/>
                      <a:pt x="1" y="117"/>
                      <a:pt x="2" y="123"/>
                    </a:cubicBezTo>
                    <a:lnTo>
                      <a:pt x="50" y="123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507523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65" name="Freeform 10">
                <a:extLst>
                  <a:ext uri="{FF2B5EF4-FFF2-40B4-BE49-F238E27FC236}">
                    <a16:creationId xmlns:a16="http://schemas.microsoft.com/office/drawing/2014/main" xmlns="" id="{B5B2DDA4-00AD-44E0-816B-AA7446CD9F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6905" y="1295908"/>
                <a:ext cx="661713" cy="407419"/>
              </a:xfrm>
              <a:custGeom>
                <a:avLst/>
                <a:gdLst>
                  <a:gd name="T0" fmla="*/ 1795700021 w 203"/>
                  <a:gd name="T1" fmla="*/ 478052417 h 125"/>
                  <a:gd name="T2" fmla="*/ 1763823709 w 203"/>
                  <a:gd name="T3" fmla="*/ 446182473 h 125"/>
                  <a:gd name="T4" fmla="*/ 1731947396 w 203"/>
                  <a:gd name="T5" fmla="*/ 138105263 h 125"/>
                  <a:gd name="T6" fmla="*/ 1604442146 w 203"/>
                  <a:gd name="T7" fmla="*/ 1115454554 h 125"/>
                  <a:gd name="T8" fmla="*/ 1561942570 w 203"/>
                  <a:gd name="T9" fmla="*/ 1147324498 h 125"/>
                  <a:gd name="T10" fmla="*/ 1561942570 w 203"/>
                  <a:gd name="T11" fmla="*/ 1147324498 h 125"/>
                  <a:gd name="T12" fmla="*/ 1530066257 w 203"/>
                  <a:gd name="T13" fmla="*/ 1115454554 h 125"/>
                  <a:gd name="T14" fmla="*/ 1445060584 w 203"/>
                  <a:gd name="T15" fmla="*/ 414312529 h 125"/>
                  <a:gd name="T16" fmla="*/ 1402561007 w 203"/>
                  <a:gd name="T17" fmla="*/ 1136702269 h 125"/>
                  <a:gd name="T18" fmla="*/ 1370681435 w 203"/>
                  <a:gd name="T19" fmla="*/ 1168572213 h 125"/>
                  <a:gd name="T20" fmla="*/ 1370681435 w 203"/>
                  <a:gd name="T21" fmla="*/ 1168572213 h 125"/>
                  <a:gd name="T22" fmla="*/ 1328181858 w 203"/>
                  <a:gd name="T23" fmla="*/ 1136702269 h 125"/>
                  <a:gd name="T24" fmla="*/ 1264429234 w 203"/>
                  <a:gd name="T25" fmla="*/ 0 h 125"/>
                  <a:gd name="T26" fmla="*/ 1126297460 w 203"/>
                  <a:gd name="T27" fmla="*/ 860495003 h 125"/>
                  <a:gd name="T28" fmla="*/ 1083794623 w 203"/>
                  <a:gd name="T29" fmla="*/ 892364947 h 125"/>
                  <a:gd name="T30" fmla="*/ 1051918311 w 203"/>
                  <a:gd name="T31" fmla="*/ 860495003 h 125"/>
                  <a:gd name="T32" fmla="*/ 1030668522 w 203"/>
                  <a:gd name="T33" fmla="*/ 478052417 h 125"/>
                  <a:gd name="T34" fmla="*/ 988165686 w 203"/>
                  <a:gd name="T35" fmla="*/ 839247287 h 125"/>
                  <a:gd name="T36" fmla="*/ 956289373 w 203"/>
                  <a:gd name="T37" fmla="*/ 871117231 h 125"/>
                  <a:gd name="T38" fmla="*/ 956289373 w 203"/>
                  <a:gd name="T39" fmla="*/ 871117231 h 125"/>
                  <a:gd name="T40" fmla="*/ 924413061 w 203"/>
                  <a:gd name="T41" fmla="*/ 839247287 h 125"/>
                  <a:gd name="T42" fmla="*/ 871286960 w 203"/>
                  <a:gd name="T43" fmla="*/ 159349719 h 125"/>
                  <a:gd name="T44" fmla="*/ 807534335 w 203"/>
                  <a:gd name="T45" fmla="*/ 796751856 h 125"/>
                  <a:gd name="T46" fmla="*/ 775658023 w 203"/>
                  <a:gd name="T47" fmla="*/ 839247287 h 125"/>
                  <a:gd name="T48" fmla="*/ 733155186 w 203"/>
                  <a:gd name="T49" fmla="*/ 807377343 h 125"/>
                  <a:gd name="T50" fmla="*/ 637526249 w 203"/>
                  <a:gd name="T51" fmla="*/ 169975207 h 125"/>
                  <a:gd name="T52" fmla="*/ 563150360 w 203"/>
                  <a:gd name="T53" fmla="*/ 456804702 h 125"/>
                  <a:gd name="T54" fmla="*/ 520647523 w 203"/>
                  <a:gd name="T55" fmla="*/ 488674645 h 125"/>
                  <a:gd name="T56" fmla="*/ 0 w 203"/>
                  <a:gd name="T57" fmla="*/ 488674645 h 125"/>
                  <a:gd name="T58" fmla="*/ 1083794623 w 203"/>
                  <a:gd name="T59" fmla="*/ 1327921932 h 125"/>
                  <a:gd name="T60" fmla="*/ 2147483647 w 203"/>
                  <a:gd name="T61" fmla="*/ 478052417 h 125"/>
                  <a:gd name="T62" fmla="*/ 1795700021 w 203"/>
                  <a:gd name="T63" fmla="*/ 478052417 h 125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03"/>
                  <a:gd name="T97" fmla="*/ 0 h 125"/>
                  <a:gd name="T98" fmla="*/ 203 w 203"/>
                  <a:gd name="T99" fmla="*/ 125 h 125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03" h="125">
                    <a:moveTo>
                      <a:pt x="169" y="45"/>
                    </a:moveTo>
                    <a:cubicBezTo>
                      <a:pt x="168" y="45"/>
                      <a:pt x="166" y="43"/>
                      <a:pt x="166" y="42"/>
                    </a:cubicBezTo>
                    <a:cubicBezTo>
                      <a:pt x="163" y="13"/>
                      <a:pt x="163" y="13"/>
                      <a:pt x="163" y="13"/>
                    </a:cubicBezTo>
                    <a:cubicBezTo>
                      <a:pt x="151" y="105"/>
                      <a:pt x="151" y="105"/>
                      <a:pt x="151" y="105"/>
                    </a:cubicBezTo>
                    <a:cubicBezTo>
                      <a:pt x="150" y="107"/>
                      <a:pt x="149" y="108"/>
                      <a:pt x="147" y="108"/>
                    </a:cubicBezTo>
                    <a:cubicBezTo>
                      <a:pt x="147" y="108"/>
                      <a:pt x="147" y="108"/>
                      <a:pt x="147" y="108"/>
                    </a:cubicBezTo>
                    <a:cubicBezTo>
                      <a:pt x="145" y="108"/>
                      <a:pt x="144" y="107"/>
                      <a:pt x="144" y="105"/>
                    </a:cubicBezTo>
                    <a:cubicBezTo>
                      <a:pt x="136" y="39"/>
                      <a:pt x="136" y="39"/>
                      <a:pt x="136" y="39"/>
                    </a:cubicBezTo>
                    <a:cubicBezTo>
                      <a:pt x="132" y="107"/>
                      <a:pt x="132" y="107"/>
                      <a:pt x="132" y="107"/>
                    </a:cubicBezTo>
                    <a:cubicBezTo>
                      <a:pt x="132" y="109"/>
                      <a:pt x="131" y="110"/>
                      <a:pt x="129" y="110"/>
                    </a:cubicBezTo>
                    <a:cubicBezTo>
                      <a:pt x="129" y="110"/>
                      <a:pt x="129" y="110"/>
                      <a:pt x="129" y="110"/>
                    </a:cubicBezTo>
                    <a:cubicBezTo>
                      <a:pt x="127" y="110"/>
                      <a:pt x="126" y="109"/>
                      <a:pt x="125" y="107"/>
                    </a:cubicBezTo>
                    <a:cubicBezTo>
                      <a:pt x="119" y="0"/>
                      <a:pt x="119" y="0"/>
                      <a:pt x="119" y="0"/>
                    </a:cubicBezTo>
                    <a:cubicBezTo>
                      <a:pt x="106" y="81"/>
                      <a:pt x="106" y="81"/>
                      <a:pt x="106" y="81"/>
                    </a:cubicBezTo>
                    <a:cubicBezTo>
                      <a:pt x="106" y="83"/>
                      <a:pt x="104" y="84"/>
                      <a:pt x="102" y="84"/>
                    </a:cubicBezTo>
                    <a:cubicBezTo>
                      <a:pt x="100" y="84"/>
                      <a:pt x="99" y="83"/>
                      <a:pt x="99" y="81"/>
                    </a:cubicBezTo>
                    <a:cubicBezTo>
                      <a:pt x="97" y="45"/>
                      <a:pt x="97" y="45"/>
                      <a:pt x="97" y="45"/>
                    </a:cubicBezTo>
                    <a:cubicBezTo>
                      <a:pt x="93" y="79"/>
                      <a:pt x="93" y="79"/>
                      <a:pt x="93" y="79"/>
                    </a:cubicBezTo>
                    <a:cubicBezTo>
                      <a:pt x="93" y="81"/>
                      <a:pt x="92" y="82"/>
                      <a:pt x="90" y="82"/>
                    </a:cubicBezTo>
                    <a:cubicBezTo>
                      <a:pt x="90" y="82"/>
                      <a:pt x="90" y="82"/>
                      <a:pt x="90" y="82"/>
                    </a:cubicBezTo>
                    <a:cubicBezTo>
                      <a:pt x="88" y="82"/>
                      <a:pt x="87" y="81"/>
                      <a:pt x="87" y="79"/>
                    </a:cubicBezTo>
                    <a:cubicBezTo>
                      <a:pt x="82" y="15"/>
                      <a:pt x="82" y="15"/>
                      <a:pt x="82" y="15"/>
                    </a:cubicBezTo>
                    <a:cubicBezTo>
                      <a:pt x="76" y="75"/>
                      <a:pt x="76" y="75"/>
                      <a:pt x="76" y="75"/>
                    </a:cubicBezTo>
                    <a:cubicBezTo>
                      <a:pt x="76" y="77"/>
                      <a:pt x="75" y="79"/>
                      <a:pt x="73" y="79"/>
                    </a:cubicBezTo>
                    <a:cubicBezTo>
                      <a:pt x="71" y="79"/>
                      <a:pt x="70" y="77"/>
                      <a:pt x="69" y="76"/>
                    </a:cubicBezTo>
                    <a:cubicBezTo>
                      <a:pt x="60" y="16"/>
                      <a:pt x="60" y="16"/>
                      <a:pt x="60" y="16"/>
                    </a:cubicBezTo>
                    <a:cubicBezTo>
                      <a:pt x="53" y="43"/>
                      <a:pt x="53" y="43"/>
                      <a:pt x="53" y="43"/>
                    </a:cubicBezTo>
                    <a:cubicBezTo>
                      <a:pt x="52" y="45"/>
                      <a:pt x="51" y="46"/>
                      <a:pt x="49" y="46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12" y="91"/>
                      <a:pt x="53" y="125"/>
                      <a:pt x="102" y="125"/>
                    </a:cubicBezTo>
                    <a:cubicBezTo>
                      <a:pt x="151" y="125"/>
                      <a:pt x="192" y="91"/>
                      <a:pt x="203" y="45"/>
                    </a:cubicBezTo>
                    <a:lnTo>
                      <a:pt x="169" y="45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507523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66" name="Freeform 11">
                <a:extLst>
                  <a:ext uri="{FF2B5EF4-FFF2-40B4-BE49-F238E27FC236}">
                    <a16:creationId xmlns:a16="http://schemas.microsoft.com/office/drawing/2014/main" xmlns="" id="{4BB885BB-B5BE-4DE0-84F4-54BDA0A7FC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9793" y="1081742"/>
                <a:ext cx="172901" cy="172900"/>
              </a:xfrm>
              <a:custGeom>
                <a:avLst/>
                <a:gdLst>
                  <a:gd name="T0" fmla="*/ 191564521 w 53"/>
                  <a:gd name="T1" fmla="*/ 542759198 h 53"/>
                  <a:gd name="T2" fmla="*/ 276703583 w 53"/>
                  <a:gd name="T3" fmla="*/ 532117692 h 53"/>
                  <a:gd name="T4" fmla="*/ 276703583 w 53"/>
                  <a:gd name="T5" fmla="*/ 564045472 h 53"/>
                  <a:gd name="T6" fmla="*/ 361845908 w 53"/>
                  <a:gd name="T7" fmla="*/ 521476187 h 53"/>
                  <a:gd name="T8" fmla="*/ 276703583 w 53"/>
                  <a:gd name="T9" fmla="*/ 564045472 h 53"/>
                  <a:gd name="T10" fmla="*/ 85139062 w 53"/>
                  <a:gd name="T11" fmla="*/ 489548408 h 53"/>
                  <a:gd name="T12" fmla="*/ 170281387 w 53"/>
                  <a:gd name="T13" fmla="*/ 510834681 h 53"/>
                  <a:gd name="T14" fmla="*/ 393770610 w 53"/>
                  <a:gd name="T15" fmla="*/ 532117692 h 53"/>
                  <a:gd name="T16" fmla="*/ 446984970 w 53"/>
                  <a:gd name="T17" fmla="*/ 468265396 h 53"/>
                  <a:gd name="T18" fmla="*/ 393770610 w 53"/>
                  <a:gd name="T19" fmla="*/ 532117692 h 53"/>
                  <a:gd name="T20" fmla="*/ 21286397 w 53"/>
                  <a:gd name="T21" fmla="*/ 393768332 h 53"/>
                  <a:gd name="T22" fmla="*/ 85139062 w 53"/>
                  <a:gd name="T23" fmla="*/ 446979123 h 53"/>
                  <a:gd name="T24" fmla="*/ 489554501 w 53"/>
                  <a:gd name="T25" fmla="*/ 468265396 h 53"/>
                  <a:gd name="T26" fmla="*/ 510840898 w 53"/>
                  <a:gd name="T27" fmla="*/ 372482058 h 53"/>
                  <a:gd name="T28" fmla="*/ 489554501 w 53"/>
                  <a:gd name="T29" fmla="*/ 468265396 h 53"/>
                  <a:gd name="T30" fmla="*/ 0 w 53"/>
                  <a:gd name="T31" fmla="*/ 276701983 h 53"/>
                  <a:gd name="T32" fmla="*/ 31927964 w 53"/>
                  <a:gd name="T33" fmla="*/ 276701983 h 53"/>
                  <a:gd name="T34" fmla="*/ 42569531 w 53"/>
                  <a:gd name="T35" fmla="*/ 351199047 h 53"/>
                  <a:gd name="T36" fmla="*/ 553410429 w 53"/>
                  <a:gd name="T37" fmla="*/ 361840553 h 53"/>
                  <a:gd name="T38" fmla="*/ 532124032 w 53"/>
                  <a:gd name="T39" fmla="*/ 276701983 h 53"/>
                  <a:gd name="T40" fmla="*/ 564051996 w 53"/>
                  <a:gd name="T41" fmla="*/ 266060477 h 53"/>
                  <a:gd name="T42" fmla="*/ 553410429 w 53"/>
                  <a:gd name="T43" fmla="*/ 361840553 h 53"/>
                  <a:gd name="T44" fmla="*/ 0 w 53"/>
                  <a:gd name="T45" fmla="*/ 244774204 h 53"/>
                  <a:gd name="T46" fmla="*/ 53211098 w 53"/>
                  <a:gd name="T47" fmla="*/ 170277140 h 53"/>
                  <a:gd name="T48" fmla="*/ 532124032 w 53"/>
                  <a:gd name="T49" fmla="*/ 244774204 h 53"/>
                  <a:gd name="T50" fmla="*/ 532124032 w 53"/>
                  <a:gd name="T51" fmla="*/ 159635634 h 53"/>
                  <a:gd name="T52" fmla="*/ 532124032 w 53"/>
                  <a:gd name="T53" fmla="*/ 244774204 h 53"/>
                  <a:gd name="T54" fmla="*/ 42569531 w 53"/>
                  <a:gd name="T55" fmla="*/ 127707855 h 53"/>
                  <a:gd name="T56" fmla="*/ 117067026 w 53"/>
                  <a:gd name="T57" fmla="*/ 85138570 h 53"/>
                  <a:gd name="T58" fmla="*/ 489554501 w 53"/>
                  <a:gd name="T59" fmla="*/ 148994128 h 53"/>
                  <a:gd name="T60" fmla="*/ 457626537 w 53"/>
                  <a:gd name="T61" fmla="*/ 63855558 h 53"/>
                  <a:gd name="T62" fmla="*/ 489554501 w 53"/>
                  <a:gd name="T63" fmla="*/ 148994128 h 53"/>
                  <a:gd name="T64" fmla="*/ 127708593 w 53"/>
                  <a:gd name="T65" fmla="*/ 42569285 h 53"/>
                  <a:gd name="T66" fmla="*/ 212850918 w 53"/>
                  <a:gd name="T67" fmla="*/ 31927779 h 53"/>
                  <a:gd name="T68" fmla="*/ 415057006 w 53"/>
                  <a:gd name="T69" fmla="*/ 63855558 h 53"/>
                  <a:gd name="T70" fmla="*/ 351201078 w 53"/>
                  <a:gd name="T71" fmla="*/ 10641506 h 53"/>
                  <a:gd name="T72" fmla="*/ 415057006 w 53"/>
                  <a:gd name="T73" fmla="*/ 63855558 h 53"/>
                  <a:gd name="T74" fmla="*/ 234134052 w 53"/>
                  <a:gd name="T75" fmla="*/ 0 h 53"/>
                  <a:gd name="T76" fmla="*/ 319273114 w 53"/>
                  <a:gd name="T77" fmla="*/ 31927779 h 53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53"/>
                  <a:gd name="T118" fmla="*/ 0 h 53"/>
                  <a:gd name="T119" fmla="*/ 53 w 53"/>
                  <a:gd name="T120" fmla="*/ 53 h 53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53" h="53">
                    <a:moveTo>
                      <a:pt x="26" y="53"/>
                    </a:moveTo>
                    <a:cubicBezTo>
                      <a:pt x="23" y="53"/>
                      <a:pt x="21" y="52"/>
                      <a:pt x="18" y="51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21" y="50"/>
                      <a:pt x="24" y="50"/>
                      <a:pt x="26" y="50"/>
                    </a:cubicBezTo>
                    <a:cubicBezTo>
                      <a:pt x="26" y="53"/>
                      <a:pt x="26" y="53"/>
                      <a:pt x="26" y="53"/>
                    </a:cubicBezTo>
                    <a:close/>
                    <a:moveTo>
                      <a:pt x="26" y="53"/>
                    </a:moveTo>
                    <a:cubicBezTo>
                      <a:pt x="26" y="50"/>
                      <a:pt x="26" y="50"/>
                      <a:pt x="26" y="50"/>
                    </a:cubicBezTo>
                    <a:cubicBezTo>
                      <a:pt x="29" y="50"/>
                      <a:pt x="31" y="50"/>
                      <a:pt x="34" y="49"/>
                    </a:cubicBezTo>
                    <a:cubicBezTo>
                      <a:pt x="35" y="51"/>
                      <a:pt x="35" y="51"/>
                      <a:pt x="35" y="51"/>
                    </a:cubicBezTo>
                    <a:cubicBezTo>
                      <a:pt x="32" y="52"/>
                      <a:pt x="29" y="53"/>
                      <a:pt x="26" y="53"/>
                    </a:cubicBezTo>
                    <a:close/>
                    <a:moveTo>
                      <a:pt x="15" y="50"/>
                    </a:moveTo>
                    <a:cubicBezTo>
                      <a:pt x="13" y="49"/>
                      <a:pt x="10" y="48"/>
                      <a:pt x="8" y="46"/>
                    </a:cubicBezTo>
                    <a:cubicBezTo>
                      <a:pt x="10" y="44"/>
                      <a:pt x="10" y="44"/>
                      <a:pt x="10" y="44"/>
                    </a:cubicBezTo>
                    <a:cubicBezTo>
                      <a:pt x="12" y="45"/>
                      <a:pt x="14" y="47"/>
                      <a:pt x="16" y="48"/>
                    </a:cubicBezTo>
                    <a:cubicBezTo>
                      <a:pt x="15" y="50"/>
                      <a:pt x="15" y="50"/>
                      <a:pt x="15" y="50"/>
                    </a:cubicBezTo>
                    <a:close/>
                    <a:moveTo>
                      <a:pt x="37" y="50"/>
                    </a:moveTo>
                    <a:cubicBezTo>
                      <a:pt x="36" y="48"/>
                      <a:pt x="36" y="48"/>
                      <a:pt x="36" y="48"/>
                    </a:cubicBezTo>
                    <a:cubicBezTo>
                      <a:pt x="38" y="47"/>
                      <a:pt x="41" y="45"/>
                      <a:pt x="42" y="44"/>
                    </a:cubicBezTo>
                    <a:cubicBezTo>
                      <a:pt x="44" y="46"/>
                      <a:pt x="44" y="46"/>
                      <a:pt x="44" y="46"/>
                    </a:cubicBezTo>
                    <a:cubicBezTo>
                      <a:pt x="42" y="47"/>
                      <a:pt x="40" y="49"/>
                      <a:pt x="37" y="50"/>
                    </a:cubicBezTo>
                    <a:close/>
                    <a:moveTo>
                      <a:pt x="6" y="44"/>
                    </a:moveTo>
                    <a:cubicBezTo>
                      <a:pt x="5" y="42"/>
                      <a:pt x="3" y="39"/>
                      <a:pt x="2" y="37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5" y="38"/>
                      <a:pt x="7" y="40"/>
                      <a:pt x="8" y="42"/>
                    </a:cubicBezTo>
                    <a:cubicBezTo>
                      <a:pt x="6" y="44"/>
                      <a:pt x="6" y="44"/>
                      <a:pt x="6" y="44"/>
                    </a:cubicBezTo>
                    <a:close/>
                    <a:moveTo>
                      <a:pt x="46" y="44"/>
                    </a:moveTo>
                    <a:cubicBezTo>
                      <a:pt x="44" y="42"/>
                      <a:pt x="44" y="42"/>
                      <a:pt x="44" y="42"/>
                    </a:cubicBezTo>
                    <a:cubicBezTo>
                      <a:pt x="46" y="40"/>
                      <a:pt x="47" y="38"/>
                      <a:pt x="48" y="35"/>
                    </a:cubicBezTo>
                    <a:cubicBezTo>
                      <a:pt x="51" y="36"/>
                      <a:pt x="51" y="36"/>
                      <a:pt x="51" y="36"/>
                    </a:cubicBezTo>
                    <a:cubicBezTo>
                      <a:pt x="50" y="39"/>
                      <a:pt x="48" y="41"/>
                      <a:pt x="46" y="44"/>
                    </a:cubicBezTo>
                    <a:close/>
                    <a:moveTo>
                      <a:pt x="1" y="34"/>
                    </a:moveTo>
                    <a:cubicBezTo>
                      <a:pt x="0" y="31"/>
                      <a:pt x="0" y="29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3" y="29"/>
                      <a:pt x="3" y="31"/>
                      <a:pt x="4" y="33"/>
                    </a:cubicBezTo>
                    <a:cubicBezTo>
                      <a:pt x="1" y="34"/>
                      <a:pt x="1" y="34"/>
                      <a:pt x="1" y="34"/>
                    </a:cubicBezTo>
                    <a:close/>
                    <a:moveTo>
                      <a:pt x="52" y="34"/>
                    </a:moveTo>
                    <a:cubicBezTo>
                      <a:pt x="49" y="33"/>
                      <a:pt x="49" y="33"/>
                      <a:pt x="49" y="33"/>
                    </a:cubicBezTo>
                    <a:cubicBezTo>
                      <a:pt x="50" y="31"/>
                      <a:pt x="50" y="29"/>
                      <a:pt x="50" y="26"/>
                    </a:cubicBezTo>
                    <a:cubicBezTo>
                      <a:pt x="50" y="26"/>
                      <a:pt x="50" y="26"/>
                      <a:pt x="50" y="26"/>
                    </a:cubicBezTo>
                    <a:cubicBezTo>
                      <a:pt x="53" y="25"/>
                      <a:pt x="53" y="25"/>
                      <a:pt x="53" y="25"/>
                    </a:cubicBezTo>
                    <a:cubicBezTo>
                      <a:pt x="53" y="26"/>
                      <a:pt x="53" y="26"/>
                      <a:pt x="53" y="26"/>
                    </a:cubicBezTo>
                    <a:cubicBezTo>
                      <a:pt x="53" y="29"/>
                      <a:pt x="52" y="31"/>
                      <a:pt x="52" y="34"/>
                    </a:cubicBezTo>
                    <a:close/>
                    <a:moveTo>
                      <a:pt x="3" y="23"/>
                    </a:moveTo>
                    <a:cubicBezTo>
                      <a:pt x="0" y="23"/>
                      <a:pt x="0" y="23"/>
                      <a:pt x="0" y="23"/>
                    </a:cubicBezTo>
                    <a:cubicBezTo>
                      <a:pt x="0" y="20"/>
                      <a:pt x="1" y="17"/>
                      <a:pt x="3" y="15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8"/>
                      <a:pt x="3" y="21"/>
                      <a:pt x="3" y="23"/>
                    </a:cubicBezTo>
                    <a:close/>
                    <a:moveTo>
                      <a:pt x="50" y="23"/>
                    </a:moveTo>
                    <a:cubicBezTo>
                      <a:pt x="49" y="21"/>
                      <a:pt x="49" y="18"/>
                      <a:pt x="48" y="16"/>
                    </a:cubicBezTo>
                    <a:cubicBezTo>
                      <a:pt x="50" y="15"/>
                      <a:pt x="50" y="15"/>
                      <a:pt x="50" y="15"/>
                    </a:cubicBezTo>
                    <a:cubicBezTo>
                      <a:pt x="51" y="17"/>
                      <a:pt x="52" y="20"/>
                      <a:pt x="52" y="23"/>
                    </a:cubicBezTo>
                    <a:cubicBezTo>
                      <a:pt x="50" y="23"/>
                      <a:pt x="50" y="23"/>
                      <a:pt x="50" y="23"/>
                    </a:cubicBezTo>
                    <a:close/>
                    <a:moveTo>
                      <a:pt x="6" y="14"/>
                    </a:moveTo>
                    <a:cubicBezTo>
                      <a:pt x="4" y="12"/>
                      <a:pt x="4" y="12"/>
                      <a:pt x="4" y="12"/>
                    </a:cubicBezTo>
                    <a:cubicBezTo>
                      <a:pt x="5" y="10"/>
                      <a:pt x="7" y="8"/>
                      <a:pt x="9" y="6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9" y="10"/>
                      <a:pt x="7" y="12"/>
                      <a:pt x="6" y="14"/>
                    </a:cubicBezTo>
                    <a:close/>
                    <a:moveTo>
                      <a:pt x="46" y="14"/>
                    </a:moveTo>
                    <a:cubicBezTo>
                      <a:pt x="45" y="11"/>
                      <a:pt x="43" y="10"/>
                      <a:pt x="41" y="8"/>
                    </a:cubicBezTo>
                    <a:cubicBezTo>
                      <a:pt x="43" y="6"/>
                      <a:pt x="43" y="6"/>
                      <a:pt x="43" y="6"/>
                    </a:cubicBezTo>
                    <a:cubicBezTo>
                      <a:pt x="45" y="8"/>
                      <a:pt x="47" y="10"/>
                      <a:pt x="49" y="12"/>
                    </a:cubicBezTo>
                    <a:cubicBezTo>
                      <a:pt x="46" y="14"/>
                      <a:pt x="46" y="14"/>
                      <a:pt x="46" y="14"/>
                    </a:cubicBezTo>
                    <a:close/>
                    <a:moveTo>
                      <a:pt x="13" y="7"/>
                    </a:moveTo>
                    <a:cubicBezTo>
                      <a:pt x="12" y="4"/>
                      <a:pt x="12" y="4"/>
                      <a:pt x="12" y="4"/>
                    </a:cubicBezTo>
                    <a:cubicBezTo>
                      <a:pt x="14" y="3"/>
                      <a:pt x="17" y="2"/>
                      <a:pt x="19" y="1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18" y="4"/>
                      <a:pt x="15" y="5"/>
                      <a:pt x="13" y="7"/>
                    </a:cubicBezTo>
                    <a:close/>
                    <a:moveTo>
                      <a:pt x="39" y="6"/>
                    </a:moveTo>
                    <a:cubicBezTo>
                      <a:pt x="37" y="5"/>
                      <a:pt x="35" y="4"/>
                      <a:pt x="32" y="3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36" y="2"/>
                      <a:pt x="38" y="3"/>
                      <a:pt x="41" y="4"/>
                    </a:cubicBezTo>
                    <a:cubicBezTo>
                      <a:pt x="39" y="6"/>
                      <a:pt x="39" y="6"/>
                      <a:pt x="39" y="6"/>
                    </a:cubicBezTo>
                    <a:close/>
                    <a:moveTo>
                      <a:pt x="22" y="3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25" y="0"/>
                      <a:pt x="28" y="0"/>
                      <a:pt x="30" y="0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28" y="2"/>
                      <a:pt x="25" y="2"/>
                      <a:pt x="22" y="3"/>
                    </a:cubicBezTo>
                    <a:close/>
                  </a:path>
                </a:pathLst>
              </a:custGeom>
              <a:solidFill>
                <a:srgbClr val="E5E8E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507523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</p:grpSp>
        <p:sp>
          <p:nvSpPr>
            <p:cNvPr id="39" name="Rectangle 137">
              <a:extLst>
                <a:ext uri="{FF2B5EF4-FFF2-40B4-BE49-F238E27FC236}">
                  <a16:creationId xmlns:a16="http://schemas.microsoft.com/office/drawing/2014/main" xmlns="" id="{E1D62EA4-6BD2-4012-8251-800752401814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 rot="16200000">
              <a:off x="-1272127" y="1987541"/>
              <a:ext cx="2313668" cy="51017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algn="ctr" defTabSz="1014582">
                <a:defRPr/>
              </a:pPr>
              <a:r>
                <a:rPr lang="en-US" sz="1776" b="1" kern="0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Security Analytics</a:t>
              </a:r>
            </a:p>
          </p:txBody>
        </p:sp>
        <p:sp>
          <p:nvSpPr>
            <p:cNvPr id="40" name="Rectangle 143">
              <a:extLst>
                <a:ext uri="{FF2B5EF4-FFF2-40B4-BE49-F238E27FC236}">
                  <a16:creationId xmlns:a16="http://schemas.microsoft.com/office/drawing/2014/main" xmlns="" id="{467A2111-E617-47E7-874D-EAC9F0F27BBA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>
            <a:xfrm>
              <a:off x="2614615" y="1374149"/>
              <a:ext cx="1871010" cy="55592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/>
              <a:r>
                <a:rPr lang="en-US" sz="1998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Mobile Monitoring</a:t>
              </a:r>
            </a:p>
          </p:txBody>
        </p:sp>
        <p:sp>
          <p:nvSpPr>
            <p:cNvPr id="41" name="Rectangle 144">
              <a:extLst>
                <a:ext uri="{FF2B5EF4-FFF2-40B4-BE49-F238E27FC236}">
                  <a16:creationId xmlns:a16="http://schemas.microsoft.com/office/drawing/2014/main" xmlns="" id="{B9A297A2-FFFC-4C14-BA75-CA2DB2F2929F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 rot="16200000">
              <a:off x="8334551" y="368880"/>
              <a:ext cx="878975" cy="51017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>
                <a:defRPr/>
              </a:pPr>
              <a:r>
                <a:rPr lang="en-US" sz="1998" kern="0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Security</a:t>
              </a:r>
              <a:endParaRPr lang="en-US" sz="2220" kern="0">
                <a:solidFill>
                  <a:schemeClr val="tx2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42" name="Rectangle 145">
              <a:extLst>
                <a:ext uri="{FF2B5EF4-FFF2-40B4-BE49-F238E27FC236}">
                  <a16:creationId xmlns:a16="http://schemas.microsoft.com/office/drawing/2014/main" xmlns="" id="{96403E08-1DD0-4005-B0B8-B1DDD80983D4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>
            <a:xfrm>
              <a:off x="3318588" y="4020131"/>
              <a:ext cx="834613" cy="459443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/>
              <a:r>
                <a:rPr lang="en-US" sz="2220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Virtual</a:t>
              </a:r>
            </a:p>
          </p:txBody>
        </p:sp>
        <p:grpSp>
          <p:nvGrpSpPr>
            <p:cNvPr id="43" name="Group 156">
              <a:extLst>
                <a:ext uri="{FF2B5EF4-FFF2-40B4-BE49-F238E27FC236}">
                  <a16:creationId xmlns:a16="http://schemas.microsoft.com/office/drawing/2014/main" xmlns="" id="{0598B6A8-7287-4DE6-ACE5-CC664549B806}"/>
                </a:ext>
              </a:extLst>
            </p:cNvPr>
            <p:cNvGrpSpPr/>
            <p:nvPr/>
          </p:nvGrpSpPr>
          <p:grpSpPr>
            <a:xfrm>
              <a:off x="1670277" y="1394371"/>
              <a:ext cx="687657" cy="486372"/>
              <a:chOff x="2051500" y="1709737"/>
              <a:chExt cx="567875" cy="422392"/>
            </a:xfrm>
          </p:grpSpPr>
          <p:sp>
            <p:nvSpPr>
              <p:cNvPr id="53" name="Rounded Rectangle 157">
                <a:extLst>
                  <a:ext uri="{FF2B5EF4-FFF2-40B4-BE49-F238E27FC236}">
                    <a16:creationId xmlns:a16="http://schemas.microsoft.com/office/drawing/2014/main" xmlns="" id="{E89DD598-7138-4951-9998-46E87B75C877}"/>
                  </a:ext>
                </a:extLst>
              </p:cNvPr>
              <p:cNvSpPr/>
              <p:nvPr/>
            </p:nvSpPr>
            <p:spPr>
              <a:xfrm>
                <a:off x="2307981" y="1709737"/>
                <a:ext cx="143241" cy="114761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7523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54" name="Rounded Rectangle 158">
                <a:extLst>
                  <a:ext uri="{FF2B5EF4-FFF2-40B4-BE49-F238E27FC236}">
                    <a16:creationId xmlns:a16="http://schemas.microsoft.com/office/drawing/2014/main" xmlns="" id="{5955D9C5-4BEA-4807-9D66-38AD4CD8B025}"/>
                  </a:ext>
                </a:extLst>
              </p:cNvPr>
              <p:cNvSpPr/>
              <p:nvPr/>
            </p:nvSpPr>
            <p:spPr>
              <a:xfrm>
                <a:off x="2133600" y="1858501"/>
                <a:ext cx="143241" cy="114761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7523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55" name="Rounded Rectangle 159">
                <a:extLst>
                  <a:ext uri="{FF2B5EF4-FFF2-40B4-BE49-F238E27FC236}">
                    <a16:creationId xmlns:a16="http://schemas.microsoft.com/office/drawing/2014/main" xmlns="" id="{E3C95DD5-3BF5-4491-954C-9E2B62D584E3}"/>
                  </a:ext>
                </a:extLst>
              </p:cNvPr>
              <p:cNvSpPr/>
              <p:nvPr/>
            </p:nvSpPr>
            <p:spPr>
              <a:xfrm>
                <a:off x="2307981" y="1856376"/>
                <a:ext cx="143241" cy="114761"/>
              </a:xfrm>
              <a:prstGeom prst="round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7523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56" name="Rounded Rectangle 160">
                <a:extLst>
                  <a:ext uri="{FF2B5EF4-FFF2-40B4-BE49-F238E27FC236}">
                    <a16:creationId xmlns:a16="http://schemas.microsoft.com/office/drawing/2014/main" xmlns="" id="{4DB9A439-90BC-45F9-981F-7E285237F3C2}"/>
                  </a:ext>
                </a:extLst>
              </p:cNvPr>
              <p:cNvSpPr/>
              <p:nvPr/>
            </p:nvSpPr>
            <p:spPr>
              <a:xfrm>
                <a:off x="2476134" y="1856376"/>
                <a:ext cx="143241" cy="114761"/>
              </a:xfrm>
              <a:prstGeom prst="roundRect">
                <a:avLst/>
              </a:prstGeom>
              <a:solidFill>
                <a:schemeClr val="tx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7523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cxnSp>
            <p:nvCxnSpPr>
              <p:cNvPr id="57" name="Elbow Connector 161">
                <a:extLst>
                  <a:ext uri="{FF2B5EF4-FFF2-40B4-BE49-F238E27FC236}">
                    <a16:creationId xmlns:a16="http://schemas.microsoft.com/office/drawing/2014/main" xmlns="" id="{4FD843B0-AFFB-4563-89E6-D82A1FDFE9DE}"/>
                  </a:ext>
                </a:extLst>
              </p:cNvPr>
              <p:cNvCxnSpPr>
                <a:cxnSpLocks/>
                <a:stCxn id="53" idx="2"/>
                <a:endCxn id="54" idx="0"/>
              </p:cNvCxnSpPr>
              <p:nvPr/>
            </p:nvCxnSpPr>
            <p:spPr>
              <a:xfrm rot="5400000">
                <a:off x="2275409" y="1754309"/>
                <a:ext cx="34003" cy="174381"/>
              </a:xfrm>
              <a:prstGeom prst="bentConnector3">
                <a:avLst/>
              </a:prstGeom>
              <a:ln w="1270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Elbow Connector 162">
                <a:extLst>
                  <a:ext uri="{FF2B5EF4-FFF2-40B4-BE49-F238E27FC236}">
                    <a16:creationId xmlns:a16="http://schemas.microsoft.com/office/drawing/2014/main" xmlns="" id="{74ADDFA5-CAFF-4BFF-9250-1DB068F38EC5}"/>
                  </a:ext>
                </a:extLst>
              </p:cNvPr>
              <p:cNvCxnSpPr>
                <a:cxnSpLocks/>
                <a:stCxn id="53" idx="2"/>
                <a:endCxn id="55" idx="0"/>
              </p:cNvCxnSpPr>
              <p:nvPr/>
            </p:nvCxnSpPr>
            <p:spPr>
              <a:xfrm rot="5400000">
                <a:off x="2363662" y="1841195"/>
                <a:ext cx="31878" cy="4152"/>
              </a:xfrm>
              <a:prstGeom prst="bentConnector3">
                <a:avLst>
                  <a:gd name="adj1" fmla="val 50000"/>
                </a:avLst>
              </a:prstGeom>
              <a:ln w="1270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Elbow Connector 163">
                <a:extLst>
                  <a:ext uri="{FF2B5EF4-FFF2-40B4-BE49-F238E27FC236}">
                    <a16:creationId xmlns:a16="http://schemas.microsoft.com/office/drawing/2014/main" xmlns="" id="{58025631-A8CC-4792-8DF0-995D64E9CA30}"/>
                  </a:ext>
                </a:extLst>
              </p:cNvPr>
              <p:cNvCxnSpPr>
                <a:cxnSpLocks/>
                <a:stCxn id="53" idx="2"/>
                <a:endCxn id="56" idx="0"/>
              </p:cNvCxnSpPr>
              <p:nvPr/>
            </p:nvCxnSpPr>
            <p:spPr>
              <a:xfrm rot="16200000" flipH="1">
                <a:off x="2447739" y="1756361"/>
                <a:ext cx="31878" cy="168153"/>
              </a:xfrm>
              <a:prstGeom prst="bentConnector3">
                <a:avLst/>
              </a:prstGeom>
              <a:ln w="1270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Rounded Rectangle 164">
                <a:extLst>
                  <a:ext uri="{FF2B5EF4-FFF2-40B4-BE49-F238E27FC236}">
                    <a16:creationId xmlns:a16="http://schemas.microsoft.com/office/drawing/2014/main" xmlns="" id="{EE34B382-0430-48AB-90DA-42D21AF5F6C0}"/>
                  </a:ext>
                </a:extLst>
              </p:cNvPr>
              <p:cNvSpPr/>
              <p:nvPr/>
            </p:nvSpPr>
            <p:spPr>
              <a:xfrm>
                <a:off x="2051500" y="2017368"/>
                <a:ext cx="143241" cy="114761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7523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61" name="Rounded Rectangle 165">
                <a:extLst>
                  <a:ext uri="{FF2B5EF4-FFF2-40B4-BE49-F238E27FC236}">
                    <a16:creationId xmlns:a16="http://schemas.microsoft.com/office/drawing/2014/main" xmlns="" id="{CA077A77-70DC-46ED-BD16-E404B364EA61}"/>
                  </a:ext>
                </a:extLst>
              </p:cNvPr>
              <p:cNvSpPr/>
              <p:nvPr/>
            </p:nvSpPr>
            <p:spPr>
              <a:xfrm>
                <a:off x="2225881" y="2015243"/>
                <a:ext cx="143241" cy="114761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7523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cxnSp>
            <p:nvCxnSpPr>
              <p:cNvPr id="62" name="Elbow Connector 166">
                <a:extLst>
                  <a:ext uri="{FF2B5EF4-FFF2-40B4-BE49-F238E27FC236}">
                    <a16:creationId xmlns:a16="http://schemas.microsoft.com/office/drawing/2014/main" xmlns="" id="{FB0919F5-AD1A-4B24-A3DD-71ED407580B7}"/>
                  </a:ext>
                </a:extLst>
              </p:cNvPr>
              <p:cNvCxnSpPr>
                <a:cxnSpLocks/>
                <a:stCxn id="54" idx="2"/>
                <a:endCxn id="60" idx="0"/>
              </p:cNvCxnSpPr>
              <p:nvPr/>
            </p:nvCxnSpPr>
            <p:spPr>
              <a:xfrm rot="5400000">
                <a:off x="2142118" y="1954265"/>
                <a:ext cx="44106" cy="82100"/>
              </a:xfrm>
              <a:prstGeom prst="bentConnector3">
                <a:avLst/>
              </a:prstGeom>
              <a:ln w="1270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Elbow Connector 167">
                <a:extLst>
                  <a:ext uri="{FF2B5EF4-FFF2-40B4-BE49-F238E27FC236}">
                    <a16:creationId xmlns:a16="http://schemas.microsoft.com/office/drawing/2014/main" xmlns="" id="{42FFF794-3BE3-420B-8C71-B42890FEE5FC}"/>
                  </a:ext>
                </a:extLst>
              </p:cNvPr>
              <p:cNvCxnSpPr>
                <a:cxnSpLocks/>
                <a:stCxn id="54" idx="2"/>
                <a:endCxn id="61" idx="0"/>
              </p:cNvCxnSpPr>
              <p:nvPr/>
            </p:nvCxnSpPr>
            <p:spPr>
              <a:xfrm rot="16200000" flipH="1">
                <a:off x="2230371" y="1948111"/>
                <a:ext cx="41981" cy="92281"/>
              </a:xfrm>
              <a:prstGeom prst="bentConnector3">
                <a:avLst>
                  <a:gd name="adj1" fmla="val 50000"/>
                </a:avLst>
              </a:prstGeom>
              <a:ln w="1270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4" name="Rectangle 168">
              <a:extLst>
                <a:ext uri="{FF2B5EF4-FFF2-40B4-BE49-F238E27FC236}">
                  <a16:creationId xmlns:a16="http://schemas.microsoft.com/office/drawing/2014/main" xmlns="" id="{DAF7A171-FDB3-4B0A-8064-B53D6C4630A0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347897" y="1233882"/>
              <a:ext cx="1558985" cy="459443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/>
              <a:r>
                <a:rPr lang="en-US" sz="2220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IT operations</a:t>
              </a:r>
            </a:p>
          </p:txBody>
        </p:sp>
        <p:sp>
          <p:nvSpPr>
            <p:cNvPr id="45" name="Rectangle 169">
              <a:extLst>
                <a:ext uri="{FF2B5EF4-FFF2-40B4-BE49-F238E27FC236}">
                  <a16:creationId xmlns:a16="http://schemas.microsoft.com/office/drawing/2014/main" xmlns="" id="{32A58E15-46AB-4522-9228-2E1DA6F03606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>
            <a:xfrm>
              <a:off x="2944652" y="3131726"/>
              <a:ext cx="3154162" cy="55592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/>
              <a:r>
                <a:rPr lang="en-US" sz="1998" b="1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Systems Monitoring</a:t>
              </a:r>
            </a:p>
          </p:txBody>
        </p:sp>
        <p:sp>
          <p:nvSpPr>
            <p:cNvPr id="46" name="Freeform 57">
              <a:extLst>
                <a:ext uri="{FF2B5EF4-FFF2-40B4-BE49-F238E27FC236}">
                  <a16:creationId xmlns:a16="http://schemas.microsoft.com/office/drawing/2014/main" xmlns="" id="{BB92E6DE-A73B-414C-BDDE-53D6D14FB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3028" y="3558012"/>
              <a:ext cx="466932" cy="694384"/>
            </a:xfrm>
            <a:custGeom>
              <a:avLst/>
              <a:gdLst>
                <a:gd name="T0" fmla="*/ 1019222987 w 46"/>
                <a:gd name="T1" fmla="*/ 0 h 64"/>
                <a:gd name="T2" fmla="*/ 1019222987 w 46"/>
                <a:gd name="T3" fmla="*/ 0 h 64"/>
                <a:gd name="T4" fmla="*/ 1267140107 w 46"/>
                <a:gd name="T5" fmla="*/ 248390734 h 64"/>
                <a:gd name="T6" fmla="*/ 1267140107 w 46"/>
                <a:gd name="T7" fmla="*/ 1766352784 h 64"/>
                <a:gd name="T8" fmla="*/ 220373105 w 46"/>
                <a:gd name="T9" fmla="*/ 1766352784 h 64"/>
                <a:gd name="T10" fmla="*/ 0 w 46"/>
                <a:gd name="T11" fmla="*/ 1517956797 h 64"/>
                <a:gd name="T12" fmla="*/ 0 w 46"/>
                <a:gd name="T13" fmla="*/ 0 h 64"/>
                <a:gd name="T14" fmla="*/ 1019222987 w 46"/>
                <a:gd name="T15" fmla="*/ 0 h 6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6"/>
                <a:gd name="T25" fmla="*/ 0 h 64"/>
                <a:gd name="T26" fmla="*/ 46 w 46"/>
                <a:gd name="T27" fmla="*/ 64 h 6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6" h="64">
                  <a:moveTo>
                    <a:pt x="37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43" y="0"/>
                    <a:pt x="46" y="3"/>
                    <a:pt x="46" y="9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2" y="64"/>
                    <a:pt x="0" y="61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507523"/>
              <a:endParaRPr lang="en-US" sz="1998">
                <a:solidFill>
                  <a:schemeClr val="accent4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cxnSp>
          <p:nvCxnSpPr>
            <p:cNvPr id="47" name="Straight Connector 11">
              <a:extLst>
                <a:ext uri="{FF2B5EF4-FFF2-40B4-BE49-F238E27FC236}">
                  <a16:creationId xmlns:a16="http://schemas.microsoft.com/office/drawing/2014/main" xmlns="" id="{5A9441FC-3592-4388-8397-DBFB3E871CFE}"/>
                </a:ext>
              </a:extLst>
            </p:cNvPr>
            <p:cNvCxnSpPr/>
            <p:nvPr/>
          </p:nvCxnSpPr>
          <p:spPr>
            <a:xfrm>
              <a:off x="4520688" y="3679592"/>
              <a:ext cx="366422" cy="0"/>
            </a:xfrm>
            <a:prstGeom prst="line">
              <a:avLst/>
            </a:prstGeom>
            <a:ln w="34925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173">
              <a:extLst>
                <a:ext uri="{FF2B5EF4-FFF2-40B4-BE49-F238E27FC236}">
                  <a16:creationId xmlns:a16="http://schemas.microsoft.com/office/drawing/2014/main" xmlns="" id="{C72330D5-464A-4179-B395-2D01795F2F16}"/>
                </a:ext>
              </a:extLst>
            </p:cNvPr>
            <p:cNvCxnSpPr/>
            <p:nvPr/>
          </p:nvCxnSpPr>
          <p:spPr>
            <a:xfrm>
              <a:off x="4520688" y="3764141"/>
              <a:ext cx="366422" cy="0"/>
            </a:xfrm>
            <a:prstGeom prst="line">
              <a:avLst/>
            </a:prstGeom>
            <a:ln w="34925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174">
              <a:extLst>
                <a:ext uri="{FF2B5EF4-FFF2-40B4-BE49-F238E27FC236}">
                  <a16:creationId xmlns:a16="http://schemas.microsoft.com/office/drawing/2014/main" xmlns="" id="{5A9C9A97-D868-4D42-8423-1C44D3BE1A5F}"/>
                </a:ext>
              </a:extLst>
            </p:cNvPr>
            <p:cNvCxnSpPr/>
            <p:nvPr/>
          </p:nvCxnSpPr>
          <p:spPr>
            <a:xfrm>
              <a:off x="4520688" y="3848691"/>
              <a:ext cx="366422" cy="0"/>
            </a:xfrm>
            <a:prstGeom prst="line">
              <a:avLst/>
            </a:prstGeom>
            <a:ln w="34925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Freeform 6">
              <a:extLst>
                <a:ext uri="{FF2B5EF4-FFF2-40B4-BE49-F238E27FC236}">
                  <a16:creationId xmlns:a16="http://schemas.microsoft.com/office/drawing/2014/main" xmlns="" id="{81935981-C456-4BF6-A635-177C6FB9AD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6820" y="267028"/>
              <a:ext cx="600733" cy="717019"/>
            </a:xfrm>
            <a:custGeom>
              <a:avLst/>
              <a:gdLst>
                <a:gd name="T0" fmla="*/ 112 w 225"/>
                <a:gd name="T1" fmla="*/ 239 h 239"/>
                <a:gd name="T2" fmla="*/ 203 w 225"/>
                <a:gd name="T3" fmla="*/ 160 h 239"/>
                <a:gd name="T4" fmla="*/ 221 w 225"/>
                <a:gd name="T5" fmla="*/ 26 h 239"/>
                <a:gd name="T6" fmla="*/ 112 w 225"/>
                <a:gd name="T7" fmla="*/ 0 h 239"/>
                <a:gd name="T8" fmla="*/ 4 w 225"/>
                <a:gd name="T9" fmla="*/ 26 h 239"/>
                <a:gd name="T10" fmla="*/ 22 w 225"/>
                <a:gd name="T11" fmla="*/ 160 h 239"/>
                <a:gd name="T12" fmla="*/ 112 w 22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" h="239">
                  <a:moveTo>
                    <a:pt x="112" y="239"/>
                  </a:moveTo>
                  <a:cubicBezTo>
                    <a:pt x="158" y="222"/>
                    <a:pt x="187" y="194"/>
                    <a:pt x="203" y="160"/>
                  </a:cubicBezTo>
                  <a:cubicBezTo>
                    <a:pt x="225" y="111"/>
                    <a:pt x="221" y="26"/>
                    <a:pt x="221" y="26"/>
                  </a:cubicBezTo>
                  <a:cubicBezTo>
                    <a:pt x="153" y="26"/>
                    <a:pt x="112" y="0"/>
                    <a:pt x="112" y="0"/>
                  </a:cubicBezTo>
                  <a:cubicBezTo>
                    <a:pt x="112" y="0"/>
                    <a:pt x="71" y="26"/>
                    <a:pt x="4" y="26"/>
                  </a:cubicBezTo>
                  <a:cubicBezTo>
                    <a:pt x="4" y="26"/>
                    <a:pt x="0" y="111"/>
                    <a:pt x="22" y="160"/>
                  </a:cubicBezTo>
                  <a:cubicBezTo>
                    <a:pt x="38" y="194"/>
                    <a:pt x="67" y="222"/>
                    <a:pt x="112" y="239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101506" tIns="50752" rIns="101506" bIns="50752" numCol="1" anchor="t" anchorCtr="0" compatLnSpc="1">
              <a:prstTxWarp prst="textNoShape">
                <a:avLst/>
              </a:prstTxWarp>
            </a:bodyPr>
            <a:lstStyle/>
            <a:p>
              <a:pPr defTabSz="507523"/>
              <a:endParaRPr lang="en-US" sz="1998">
                <a:solidFill>
                  <a:prstClr val="black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51" name="Freeform 178">
              <a:extLst>
                <a:ext uri="{FF2B5EF4-FFF2-40B4-BE49-F238E27FC236}">
                  <a16:creationId xmlns:a16="http://schemas.microsoft.com/office/drawing/2014/main" xmlns="" id="{0636A85F-6570-404A-B136-901407A43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861" y="344982"/>
              <a:ext cx="428010" cy="510862"/>
            </a:xfrm>
            <a:custGeom>
              <a:avLst/>
              <a:gdLst>
                <a:gd name="T0" fmla="*/ 112 w 225"/>
                <a:gd name="T1" fmla="*/ 239 h 239"/>
                <a:gd name="T2" fmla="*/ 203 w 225"/>
                <a:gd name="T3" fmla="*/ 160 h 239"/>
                <a:gd name="T4" fmla="*/ 221 w 225"/>
                <a:gd name="T5" fmla="*/ 26 h 239"/>
                <a:gd name="T6" fmla="*/ 112 w 225"/>
                <a:gd name="T7" fmla="*/ 0 h 239"/>
                <a:gd name="T8" fmla="*/ 4 w 225"/>
                <a:gd name="T9" fmla="*/ 26 h 239"/>
                <a:gd name="T10" fmla="*/ 22 w 225"/>
                <a:gd name="T11" fmla="*/ 160 h 239"/>
                <a:gd name="T12" fmla="*/ 112 w 22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" h="239">
                  <a:moveTo>
                    <a:pt x="112" y="239"/>
                  </a:moveTo>
                  <a:cubicBezTo>
                    <a:pt x="158" y="222"/>
                    <a:pt x="187" y="194"/>
                    <a:pt x="203" y="160"/>
                  </a:cubicBezTo>
                  <a:cubicBezTo>
                    <a:pt x="225" y="111"/>
                    <a:pt x="221" y="26"/>
                    <a:pt x="221" y="26"/>
                  </a:cubicBezTo>
                  <a:cubicBezTo>
                    <a:pt x="153" y="26"/>
                    <a:pt x="112" y="0"/>
                    <a:pt x="112" y="0"/>
                  </a:cubicBezTo>
                  <a:cubicBezTo>
                    <a:pt x="112" y="0"/>
                    <a:pt x="71" y="26"/>
                    <a:pt x="4" y="26"/>
                  </a:cubicBezTo>
                  <a:cubicBezTo>
                    <a:pt x="4" y="26"/>
                    <a:pt x="0" y="111"/>
                    <a:pt x="22" y="160"/>
                  </a:cubicBezTo>
                  <a:cubicBezTo>
                    <a:pt x="38" y="194"/>
                    <a:pt x="67" y="222"/>
                    <a:pt x="112" y="239"/>
                  </a:cubicBezTo>
                  <a:close/>
                </a:path>
              </a:pathLst>
            </a:custGeom>
            <a:noFill/>
            <a:ln w="38100" cmpd="sng">
              <a:solidFill>
                <a:schemeClr val="bg1"/>
              </a:solidFill>
            </a:ln>
          </p:spPr>
          <p:txBody>
            <a:bodyPr vert="horz" wrap="square" lIns="101506" tIns="50752" rIns="101506" bIns="50752" numCol="1" anchor="t" anchorCtr="0" compatLnSpc="1">
              <a:prstTxWarp prst="textNoShape">
                <a:avLst/>
              </a:prstTxWarp>
            </a:bodyPr>
            <a:lstStyle/>
            <a:p>
              <a:pPr defTabSz="507523"/>
              <a:endParaRPr lang="en-US" sz="1998">
                <a:solidFill>
                  <a:prstClr val="black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cxnSp>
          <p:nvCxnSpPr>
            <p:cNvPr id="52" name="Straight Arrow Connector 141">
              <a:extLst>
                <a:ext uri="{FF2B5EF4-FFF2-40B4-BE49-F238E27FC236}">
                  <a16:creationId xmlns:a16="http://schemas.microsoft.com/office/drawing/2014/main" xmlns="" id="{3A1BB2BD-391E-44F6-B792-D8F7AE11D4E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484886" y="752393"/>
              <a:ext cx="206529" cy="3283578"/>
            </a:xfrm>
            <a:prstGeom prst="straightConnector1">
              <a:avLst/>
            </a:prstGeom>
            <a:ln w="28575">
              <a:noFill/>
              <a:tailEnd type="arrow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0" name="Title 3">
            <a:extLst>
              <a:ext uri="{FF2B5EF4-FFF2-40B4-BE49-F238E27FC236}">
                <a16:creationId xmlns:a16="http://schemas.microsoft.com/office/drawing/2014/main" xmlns="" id="{90A7AF8C-0294-419F-AC2C-7EA93BC99518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black">
          <a:xfrm>
            <a:off x="3098156" y="5365499"/>
            <a:ext cx="4460496" cy="51480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>
                <a:solidFill>
                  <a:schemeClr val="tx2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Contextual Security Intelligence</a:t>
            </a:r>
          </a:p>
        </p:txBody>
      </p:sp>
      <p:pic>
        <p:nvPicPr>
          <p:cNvPr id="141" name="Picture 5" descr="E:\My Files\Grafika\Balabit\Ábrák\CSI\icon04.png">
            <a:extLst>
              <a:ext uri="{FF2B5EF4-FFF2-40B4-BE49-F238E27FC236}">
                <a16:creationId xmlns:a16="http://schemas.microsoft.com/office/drawing/2014/main" xmlns="" id="{728BD30D-3A56-47BC-B473-19070D6D4F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8724338" y="5285065"/>
            <a:ext cx="502773" cy="487842"/>
          </a:xfrm>
          <a:prstGeom prst="rect">
            <a:avLst/>
          </a:prstGeom>
          <a:noFill/>
        </p:spPr>
      </p:pic>
      <p:pic>
        <p:nvPicPr>
          <p:cNvPr id="142" name="Picture 3" descr="E:\My Files\Downloads\data-analytics (1).png">
            <a:extLst>
              <a:ext uri="{FF2B5EF4-FFF2-40B4-BE49-F238E27FC236}">
                <a16:creationId xmlns:a16="http://schemas.microsoft.com/office/drawing/2014/main" xmlns="" id="{383517AF-44DB-4264-BBD8-CBB97B97D2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2406607" y="5412956"/>
            <a:ext cx="618324" cy="618324"/>
          </a:xfrm>
          <a:prstGeom prst="rect">
            <a:avLst/>
          </a:prstGeom>
          <a:solidFill>
            <a:schemeClr val="accent1">
              <a:alpha val="56000"/>
            </a:schemeClr>
          </a:solidFill>
          <a:ln>
            <a:solidFill>
              <a:schemeClr val="tx1"/>
            </a:solidFill>
          </a:ln>
        </p:spPr>
      </p:pic>
      <p:sp>
        <p:nvSpPr>
          <p:cNvPr id="143" name="Title 3">
            <a:extLst>
              <a:ext uri="{FF2B5EF4-FFF2-40B4-BE49-F238E27FC236}">
                <a16:creationId xmlns:a16="http://schemas.microsoft.com/office/drawing/2014/main" xmlns="" id="{0597D2B1-5D42-4846-ADC8-02364424DC05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black">
          <a:xfrm>
            <a:off x="7703094" y="1615783"/>
            <a:ext cx="4460496" cy="51480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User Behavior Anomaly</a:t>
            </a:r>
          </a:p>
        </p:txBody>
      </p:sp>
      <p:pic>
        <p:nvPicPr>
          <p:cNvPr id="144" name="Picture 4" descr="E:\My Files\Downloads\emergency1.png">
            <a:extLst>
              <a:ext uri="{FF2B5EF4-FFF2-40B4-BE49-F238E27FC236}">
                <a16:creationId xmlns:a16="http://schemas.microsoft.com/office/drawing/2014/main" xmlns="" id="{6F7AFB01-F516-468D-A718-B8F94AC5D9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9311751" y="745914"/>
            <a:ext cx="402137" cy="402137"/>
          </a:xfrm>
          <a:prstGeom prst="rect">
            <a:avLst/>
          </a:prstGeom>
          <a:solidFill>
            <a:srgbClr val="008852"/>
          </a:solidFill>
        </p:spPr>
      </p:pic>
      <p:sp>
        <p:nvSpPr>
          <p:cNvPr id="145" name="Title 3">
            <a:extLst>
              <a:ext uri="{FF2B5EF4-FFF2-40B4-BE49-F238E27FC236}">
                <a16:creationId xmlns:a16="http://schemas.microsoft.com/office/drawing/2014/main" xmlns="" id="{24E4F0EA-4EEA-4A62-AED4-3B08E4371E9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black">
          <a:xfrm>
            <a:off x="7005353" y="992021"/>
            <a:ext cx="4296839" cy="52665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sk-SK" sz="3200" err="1">
                <a:solidFill>
                  <a:schemeClr val="tx2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Investigate</a:t>
            </a:r>
            <a:endParaRPr lang="en-US" sz="3200">
              <a:solidFill>
                <a:schemeClr val="tx2"/>
              </a:solidFill>
              <a:latin typeface="Ebrima" panose="02000000000000000000" pitchFamily="2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sp>
        <p:nvSpPr>
          <p:cNvPr id="146" name="Title 3">
            <a:extLst>
              <a:ext uri="{FF2B5EF4-FFF2-40B4-BE49-F238E27FC236}">
                <a16:creationId xmlns:a16="http://schemas.microsoft.com/office/drawing/2014/main" xmlns="" id="{7FC70D7B-3193-482A-A120-4A1BF632A092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10005899" y="2927159"/>
            <a:ext cx="1762997" cy="39763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b="0">
                <a:solidFill>
                  <a:schemeClr val="accent4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Workbench</a:t>
            </a:r>
          </a:p>
        </p:txBody>
      </p:sp>
    </p:spTree>
    <p:extLst>
      <p:ext uri="{BB962C8B-B14F-4D97-AF65-F5344CB8AC3E}">
        <p14:creationId xmlns:p14="http://schemas.microsoft.com/office/powerpoint/2010/main" val="3529877443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5">
            <a:extLst>
              <a:ext uri="{FF2B5EF4-FFF2-40B4-BE49-F238E27FC236}">
                <a16:creationId xmlns:a16="http://schemas.microsoft.com/office/drawing/2014/main" xmlns="" id="{44EFB409-E93C-4E51-946F-A45A2EBBF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sz="4900">
                <a:solidFill>
                  <a:schemeClr val="tx2"/>
                </a:solidFill>
              </a:rPr>
              <a:t>Kdo jsme / víme jak na to</a:t>
            </a:r>
            <a:br>
              <a:rPr lang="pl-PL" sz="4900">
                <a:solidFill>
                  <a:schemeClr val="tx2"/>
                </a:solidFill>
              </a:rPr>
            </a:br>
            <a:r>
              <a:rPr lang="pl-PL" sz="4000" b="0" i="1">
                <a:solidFill>
                  <a:schemeClr val="accent4"/>
                </a:solidFill>
              </a:rPr>
              <a:t>© 2009  [2002]</a:t>
            </a:r>
            <a:endParaRPr lang="sk-SK" i="1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6123455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1" y="889848"/>
            <a:ext cx="5350727" cy="883812"/>
          </a:xfrm>
        </p:spPr>
        <p:txBody>
          <a:bodyPr/>
          <a:lstStyle/>
          <a:p>
            <a:r>
              <a:rPr lang="cs-CZ" dirty="0">
                <a:solidFill>
                  <a:schemeClr val="tx2"/>
                </a:solidFill>
                <a:latin typeface="Tw Cen MT" panose="020B0602020104020603" pitchFamily="34" charset="-18"/>
                <a:ea typeface="Impact" charset="0"/>
                <a:cs typeface="Impact" charset="0"/>
              </a:rPr>
              <a:t>Co</a:t>
            </a:r>
            <a:r>
              <a:rPr lang="cs-CZ" dirty="0">
                <a:latin typeface="Tw Cen MT" panose="020B0602020104020603" pitchFamily="34" charset="-18"/>
                <a:ea typeface="Impact" charset="0"/>
                <a:cs typeface="Impact" charset="0"/>
              </a:rPr>
              <a:t> děláme? </a:t>
            </a:r>
          </a:p>
        </p:txBody>
      </p:sp>
      <p:pic>
        <p:nvPicPr>
          <p:cNvPr id="3080" name="Picture 8" descr="Cyber security, Data protection, information safety. internet technology concept">
            <a:extLst>
              <a:ext uri="{FF2B5EF4-FFF2-40B4-BE49-F238E27FC236}">
                <a16:creationId xmlns:a16="http://schemas.microsoft.com/office/drawing/2014/main" xmlns="" id="{3320CD71-7464-F9AC-CBB4-127562BFF1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8120" y="2243295"/>
            <a:ext cx="2893142" cy="1928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IOT. Internet of things. Automation and modern technology concept">
            <a:extLst>
              <a:ext uri="{FF2B5EF4-FFF2-40B4-BE49-F238E27FC236}">
                <a16:creationId xmlns:a16="http://schemas.microsoft.com/office/drawing/2014/main" xmlns="" id="{ECBC9766-0D3A-5468-6B82-0E3427FAA7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851" y="2243295"/>
            <a:ext cx="2893143" cy="1928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xmlns="" id="{564A7F35-D651-3621-0925-C3002F8797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08709" y="2235200"/>
            <a:ext cx="4377826" cy="1936857"/>
          </a:xfrm>
          <a:prstGeom prst="rect">
            <a:avLst/>
          </a:prstGeom>
        </p:spPr>
      </p:pic>
      <p:sp>
        <p:nvSpPr>
          <p:cNvPr id="5" name="TextovéPole 4">
            <a:extLst>
              <a:ext uri="{FF2B5EF4-FFF2-40B4-BE49-F238E27FC236}">
                <a16:creationId xmlns:a16="http://schemas.microsoft.com/office/drawing/2014/main" xmlns="" id="{7AC8AAD7-2F2A-D8E7-2ABB-F6340ED6DD97}"/>
              </a:ext>
            </a:extLst>
          </p:cNvPr>
          <p:cNvSpPr txBox="1"/>
          <p:nvPr/>
        </p:nvSpPr>
        <p:spPr>
          <a:xfrm>
            <a:off x="773248" y="4287010"/>
            <a:ext cx="244034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Služby a procesy </a:t>
            </a:r>
          </a:p>
          <a:p>
            <a:pPr algn="ctr"/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v rámci IB a KB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xmlns="" id="{528E441A-65F7-BF33-3CCE-176AED9DD2DD}"/>
              </a:ext>
            </a:extLst>
          </p:cNvPr>
          <p:cNvSpPr txBox="1"/>
          <p:nvPr/>
        </p:nvSpPr>
        <p:spPr>
          <a:xfrm>
            <a:off x="8701265" y="4287011"/>
            <a:ext cx="339208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Technologie pro </a:t>
            </a:r>
            <a:b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</a:br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monitoring </a:t>
            </a:r>
          </a:p>
          <a:p>
            <a:pPr algn="ctr"/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kybernetické bezpečnosti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xmlns="" id="{451152F9-360E-AE51-3D36-6C13F9B4019A}"/>
              </a:ext>
            </a:extLst>
          </p:cNvPr>
          <p:cNvSpPr txBox="1"/>
          <p:nvPr/>
        </p:nvSpPr>
        <p:spPr>
          <a:xfrm>
            <a:off x="3881709" y="4287010"/>
            <a:ext cx="480317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Služby </a:t>
            </a:r>
          </a:p>
          <a:p>
            <a:pPr algn="ctr"/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bezpečnostního dohledového centra</a:t>
            </a:r>
          </a:p>
          <a:p>
            <a:pPr algn="ctr"/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(SOC)</a:t>
            </a:r>
          </a:p>
        </p:txBody>
      </p:sp>
    </p:spTree>
    <p:extLst>
      <p:ext uri="{BB962C8B-B14F-4D97-AF65-F5344CB8AC3E}">
        <p14:creationId xmlns:p14="http://schemas.microsoft.com/office/powerpoint/2010/main" val="401049564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xmlns="" id="{3A9E5699-1CD0-4BB7-83DB-12D10B0F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43348" y="4966933"/>
            <a:ext cx="486708" cy="464416"/>
          </a:xfrm>
          <a:prstGeom prst="rect">
            <a:avLst/>
          </a:prstGeom>
        </p:spPr>
      </p:pic>
      <p:sp>
        <p:nvSpPr>
          <p:cNvPr id="3" name="Nadpis 2">
            <a:extLst>
              <a:ext uri="{FF2B5EF4-FFF2-40B4-BE49-F238E27FC236}">
                <a16:creationId xmlns:a16="http://schemas.microsoft.com/office/drawing/2014/main" xmlns="" id="{F921E2E8-81E4-4022-A7A4-BDAC2C1928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3592"/>
            <a:ext cx="9176649" cy="883812"/>
          </a:xfrm>
        </p:spPr>
        <p:txBody>
          <a:bodyPr>
            <a:normAutofit fontScale="90000"/>
          </a:bodyPr>
          <a:lstStyle/>
          <a:p>
            <a:r>
              <a:rPr lang="cs-CZ" dirty="0">
                <a:solidFill>
                  <a:schemeClr val="tx2"/>
                </a:solidFill>
              </a:rPr>
              <a:t>Kybernetická </a:t>
            </a:r>
            <a:r>
              <a:rPr lang="cs-CZ" dirty="0"/>
              <a:t>bezpečnost pro každého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xmlns="" id="{D60DDBFE-C6B3-485B-8D94-4F4027569E04}"/>
              </a:ext>
            </a:extLst>
          </p:cNvPr>
          <p:cNvSpPr/>
          <p:nvPr/>
        </p:nvSpPr>
        <p:spPr>
          <a:xfrm>
            <a:off x="621801" y="1774468"/>
            <a:ext cx="3354901" cy="413939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1">
              <a:latin typeface="Tw Cen MT" panose="020B0602020104020603" pitchFamily="34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xmlns="" id="{963E0AC3-2541-48D8-9850-1A99DB7DB0E3}"/>
              </a:ext>
            </a:extLst>
          </p:cNvPr>
          <p:cNvSpPr/>
          <p:nvPr/>
        </p:nvSpPr>
        <p:spPr>
          <a:xfrm>
            <a:off x="8046215" y="1778144"/>
            <a:ext cx="3354901" cy="4139397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1">
              <a:latin typeface="Tw Cen MT" panose="020B0602020104020603" pitchFamily="34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xmlns="" id="{0F45AF07-1A2A-49D9-85ED-3123519D3C09}"/>
              </a:ext>
            </a:extLst>
          </p:cNvPr>
          <p:cNvSpPr txBox="1"/>
          <p:nvPr/>
        </p:nvSpPr>
        <p:spPr>
          <a:xfrm>
            <a:off x="635826" y="1411757"/>
            <a:ext cx="33354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Finance</a:t>
            </a:r>
            <a:endParaRPr lang="cs-CZ" sz="1801" b="1">
              <a:solidFill>
                <a:schemeClr val="bg2">
                  <a:lumMod val="25000"/>
                </a:schemeClr>
              </a:solidFill>
              <a:latin typeface="Tw Cen MT" panose="020B0602020104020603" pitchFamily="34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xmlns="" id="{63C2C832-90E4-4268-AC72-71B5BAA57A93}"/>
              </a:ext>
            </a:extLst>
          </p:cNvPr>
          <p:cNvSpPr txBox="1"/>
          <p:nvPr/>
        </p:nvSpPr>
        <p:spPr>
          <a:xfrm>
            <a:off x="4330686" y="1426936"/>
            <a:ext cx="33549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Utility</a:t>
            </a:r>
            <a:endParaRPr lang="cs-CZ" sz="1801" b="1">
              <a:solidFill>
                <a:schemeClr val="bg2">
                  <a:lumMod val="25000"/>
                </a:schemeClr>
              </a:solidFill>
              <a:latin typeface="Tw Cen MT" panose="020B0602020104020603" pitchFamily="34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xmlns="" id="{CE7B36B4-081A-4AA5-8995-4F370EF8C7C6}"/>
              </a:ext>
            </a:extLst>
          </p:cNvPr>
          <p:cNvSpPr txBox="1"/>
          <p:nvPr/>
        </p:nvSpPr>
        <p:spPr>
          <a:xfrm>
            <a:off x="8076963" y="1434274"/>
            <a:ext cx="30106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Public</a:t>
            </a:r>
            <a:r>
              <a:rPr lang="cs-CZ" sz="1801" b="1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 + ostatní</a:t>
            </a:r>
          </a:p>
        </p:txBody>
      </p:sp>
      <p:pic>
        <p:nvPicPr>
          <p:cNvPr id="47" name="Picture 6">
            <a:extLst>
              <a:ext uri="{FF2B5EF4-FFF2-40B4-BE49-F238E27FC236}">
                <a16:creationId xmlns:a16="http://schemas.microsoft.com/office/drawing/2014/main" xmlns="" id="{2DA2B6F2-F917-4F71-93AF-D61B2EDAC4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375186" y="5199141"/>
            <a:ext cx="1433504" cy="521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22">
            <a:extLst>
              <a:ext uri="{FF2B5EF4-FFF2-40B4-BE49-F238E27FC236}">
                <a16:creationId xmlns:a16="http://schemas.microsoft.com/office/drawing/2014/main" xmlns="" id="{238EC86D-AA98-49F4-AE31-4DD11781D5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84974" y="4008838"/>
            <a:ext cx="1355509" cy="308313"/>
          </a:xfrm>
          <a:prstGeom prst="rect">
            <a:avLst/>
          </a:prstGeom>
        </p:spPr>
      </p:pic>
      <p:pic>
        <p:nvPicPr>
          <p:cNvPr id="52" name="Picture 27">
            <a:extLst>
              <a:ext uri="{FF2B5EF4-FFF2-40B4-BE49-F238E27FC236}">
                <a16:creationId xmlns:a16="http://schemas.microsoft.com/office/drawing/2014/main" xmlns="" id="{249CF57A-9DE1-4FD0-8597-3A24550B16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95900" y="4876594"/>
            <a:ext cx="2045652" cy="216838"/>
          </a:xfrm>
          <a:prstGeom prst="rect">
            <a:avLst/>
          </a:prstGeom>
        </p:spPr>
      </p:pic>
      <p:pic>
        <p:nvPicPr>
          <p:cNvPr id="53" name="Picture 25">
            <a:extLst>
              <a:ext uri="{FF2B5EF4-FFF2-40B4-BE49-F238E27FC236}">
                <a16:creationId xmlns:a16="http://schemas.microsoft.com/office/drawing/2014/main" xmlns="" id="{4E35D07C-B667-4F8E-B670-3AA181C7A3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0717" y="3963074"/>
            <a:ext cx="1574713" cy="360498"/>
          </a:xfrm>
          <a:prstGeom prst="rect">
            <a:avLst/>
          </a:prstGeom>
        </p:spPr>
      </p:pic>
      <p:pic>
        <p:nvPicPr>
          <p:cNvPr id="54" name="Picture 28">
            <a:extLst>
              <a:ext uri="{FF2B5EF4-FFF2-40B4-BE49-F238E27FC236}">
                <a16:creationId xmlns:a16="http://schemas.microsoft.com/office/drawing/2014/main" xmlns="" id="{52C30A46-484C-4E8A-A4C4-9F664CDBBFA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9969" y="1819548"/>
            <a:ext cx="1409343" cy="368993"/>
          </a:xfrm>
          <a:prstGeom prst="rect">
            <a:avLst/>
          </a:prstGeom>
        </p:spPr>
      </p:pic>
      <p:pic>
        <p:nvPicPr>
          <p:cNvPr id="55" name="Picture 7">
            <a:extLst>
              <a:ext uri="{FF2B5EF4-FFF2-40B4-BE49-F238E27FC236}">
                <a16:creationId xmlns:a16="http://schemas.microsoft.com/office/drawing/2014/main" xmlns="" id="{2EC26FC3-C82F-4406-A0A5-97CC7C8B33C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418" y="2617349"/>
            <a:ext cx="1527858" cy="447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Obrázek 56">
            <a:extLst>
              <a:ext uri="{FF2B5EF4-FFF2-40B4-BE49-F238E27FC236}">
                <a16:creationId xmlns:a16="http://schemas.microsoft.com/office/drawing/2014/main" xmlns="" id="{234E0BA8-AB32-4D9A-A71F-7201B392849E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90" y="4343739"/>
            <a:ext cx="2045652" cy="316932"/>
          </a:xfrm>
          <a:prstGeom prst="rect">
            <a:avLst/>
          </a:prstGeom>
        </p:spPr>
      </p:pic>
      <p:pic>
        <p:nvPicPr>
          <p:cNvPr id="58" name="Picture 2" descr="Výsledek obrázku pro t-mobile">
            <a:extLst>
              <a:ext uri="{FF2B5EF4-FFF2-40B4-BE49-F238E27FC236}">
                <a16:creationId xmlns:a16="http://schemas.microsoft.com/office/drawing/2014/main" xmlns="" id="{7CB0703D-ED81-406D-A848-CA24E3B235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437" b="28438"/>
          <a:stretch/>
        </p:blipFill>
        <p:spPr bwMode="auto">
          <a:xfrm>
            <a:off x="4592594" y="1848368"/>
            <a:ext cx="1374171" cy="318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10">
            <a:extLst>
              <a:ext uri="{FF2B5EF4-FFF2-40B4-BE49-F238E27FC236}">
                <a16:creationId xmlns:a16="http://schemas.microsoft.com/office/drawing/2014/main" xmlns="" id="{561508E1-2397-4671-A70B-BA3F1C446C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4477335" y="3420003"/>
            <a:ext cx="588444" cy="5718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" name="Picture 2" descr="http://conference.itsmf.cz/assets/img/partners/o2itservices.png">
            <a:extLst>
              <a:ext uri="{FF2B5EF4-FFF2-40B4-BE49-F238E27FC236}">
                <a16:creationId xmlns:a16="http://schemas.microsoft.com/office/drawing/2014/main" xmlns="" id="{4EA28537-FDC0-4670-A9DB-90AF599D87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19" b="12472"/>
          <a:stretch/>
        </p:blipFill>
        <p:spPr bwMode="auto">
          <a:xfrm>
            <a:off x="6113451" y="3185548"/>
            <a:ext cx="1400615" cy="357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13">
            <a:extLst>
              <a:ext uri="{FF2B5EF4-FFF2-40B4-BE49-F238E27FC236}">
                <a16:creationId xmlns:a16="http://schemas.microsoft.com/office/drawing/2014/main" xmlns="" id="{F57DE63A-ED89-43E6-AC5C-3E196F59082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939563" y="1867245"/>
            <a:ext cx="652350" cy="653840"/>
          </a:xfrm>
          <a:prstGeom prst="rect">
            <a:avLst/>
          </a:prstGeom>
        </p:spPr>
      </p:pic>
      <p:pic>
        <p:nvPicPr>
          <p:cNvPr id="62" name="Picture 8">
            <a:extLst>
              <a:ext uri="{FF2B5EF4-FFF2-40B4-BE49-F238E27FC236}">
                <a16:creationId xmlns:a16="http://schemas.microsoft.com/office/drawing/2014/main" xmlns="" id="{7E34EDAB-02FE-4A74-91B4-EB0936B856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/>
          <a:srcRect l="21824" r="22608"/>
          <a:stretch/>
        </p:blipFill>
        <p:spPr bwMode="auto">
          <a:xfrm>
            <a:off x="6912470" y="4279116"/>
            <a:ext cx="591135" cy="711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" name="Picture 12">
            <a:extLst>
              <a:ext uri="{FF2B5EF4-FFF2-40B4-BE49-F238E27FC236}">
                <a16:creationId xmlns:a16="http://schemas.microsoft.com/office/drawing/2014/main" xmlns="" id="{7539E57E-E53B-4BFD-AD44-94C4B6133120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9083" t="14846" r="9896" b="13652"/>
          <a:stretch/>
        </p:blipFill>
        <p:spPr>
          <a:xfrm>
            <a:off x="6470384" y="5093432"/>
            <a:ext cx="1014594" cy="405773"/>
          </a:xfrm>
          <a:prstGeom prst="rect">
            <a:avLst/>
          </a:prstGeom>
        </p:spPr>
      </p:pic>
      <p:pic>
        <p:nvPicPr>
          <p:cNvPr id="67" name="Obrázek 66">
            <a:extLst>
              <a:ext uri="{FF2B5EF4-FFF2-40B4-BE49-F238E27FC236}">
                <a16:creationId xmlns:a16="http://schemas.microsoft.com/office/drawing/2014/main" xmlns="" id="{6D98B6D1-E202-4F91-8CB2-37827BE4B938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739" b="20233"/>
          <a:stretch/>
        </p:blipFill>
        <p:spPr>
          <a:xfrm>
            <a:off x="4532992" y="4108183"/>
            <a:ext cx="1515330" cy="268115"/>
          </a:xfrm>
          <a:prstGeom prst="rect">
            <a:avLst/>
          </a:prstGeom>
        </p:spPr>
      </p:pic>
      <p:pic>
        <p:nvPicPr>
          <p:cNvPr id="68" name="Obrázek 67">
            <a:extLst>
              <a:ext uri="{FF2B5EF4-FFF2-40B4-BE49-F238E27FC236}">
                <a16:creationId xmlns:a16="http://schemas.microsoft.com/office/drawing/2014/main" xmlns="" id="{B9AE6535-79BD-4813-9346-BB59008E2EE7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08" t="20621" r="9392" b="20314"/>
          <a:stretch/>
        </p:blipFill>
        <p:spPr>
          <a:xfrm>
            <a:off x="4328121" y="2187847"/>
            <a:ext cx="1450738" cy="421076"/>
          </a:xfrm>
          <a:prstGeom prst="rect">
            <a:avLst/>
          </a:prstGeom>
        </p:spPr>
      </p:pic>
      <p:pic>
        <p:nvPicPr>
          <p:cNvPr id="71" name="Picture 26">
            <a:extLst>
              <a:ext uri="{FF2B5EF4-FFF2-40B4-BE49-F238E27FC236}">
                <a16:creationId xmlns:a16="http://schemas.microsoft.com/office/drawing/2014/main" xmlns="" id="{22C2E14A-C95F-4282-B70C-0A7EE41B0029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182392" y="3968389"/>
            <a:ext cx="1197519" cy="298048"/>
          </a:xfrm>
          <a:prstGeom prst="rect">
            <a:avLst/>
          </a:prstGeom>
        </p:spPr>
      </p:pic>
      <p:pic>
        <p:nvPicPr>
          <p:cNvPr id="72" name="Picture 1024">
            <a:extLst>
              <a:ext uri="{FF2B5EF4-FFF2-40B4-BE49-F238E27FC236}">
                <a16:creationId xmlns:a16="http://schemas.microsoft.com/office/drawing/2014/main" xmlns="" id="{3CD44EFD-E2CA-4899-A706-AAA9C9BAF210}"/>
              </a:ext>
            </a:extLst>
          </p:cNvPr>
          <p:cNvPicPr>
            <a:picLocks noChangeAspect="1"/>
          </p:cNvPicPr>
          <p:nvPr/>
        </p:nvPicPr>
        <p:blipFill rotWithShape="1">
          <a:blip r:embed="rId20"/>
          <a:srcRect l="13752" r="18981"/>
          <a:stretch/>
        </p:blipFill>
        <p:spPr>
          <a:xfrm>
            <a:off x="10698260" y="3028895"/>
            <a:ext cx="647164" cy="639675"/>
          </a:xfrm>
          <a:prstGeom prst="rect">
            <a:avLst/>
          </a:prstGeom>
        </p:spPr>
      </p:pic>
      <p:pic>
        <p:nvPicPr>
          <p:cNvPr id="73" name="Picture 23">
            <a:extLst>
              <a:ext uri="{FF2B5EF4-FFF2-40B4-BE49-F238E27FC236}">
                <a16:creationId xmlns:a16="http://schemas.microsoft.com/office/drawing/2014/main" xmlns="" id="{ACDDF92C-8B84-41E5-820A-899B9B8467C6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379877" y="4296642"/>
            <a:ext cx="1250900" cy="307240"/>
          </a:xfrm>
          <a:prstGeom prst="rect">
            <a:avLst/>
          </a:prstGeom>
        </p:spPr>
      </p:pic>
      <p:pic>
        <p:nvPicPr>
          <p:cNvPr id="56" name="Obrázek 55">
            <a:extLst>
              <a:ext uri="{FF2B5EF4-FFF2-40B4-BE49-F238E27FC236}">
                <a16:creationId xmlns:a16="http://schemas.microsoft.com/office/drawing/2014/main" xmlns="" id="{A664A00C-1FB1-40FB-8530-EF26060A8CA4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7951" y="1984857"/>
            <a:ext cx="994199" cy="562854"/>
          </a:xfrm>
          <a:prstGeom prst="rect">
            <a:avLst/>
          </a:prstGeom>
        </p:spPr>
      </p:pic>
      <p:pic>
        <p:nvPicPr>
          <p:cNvPr id="74" name="Picture 14">
            <a:extLst>
              <a:ext uri="{FF2B5EF4-FFF2-40B4-BE49-F238E27FC236}">
                <a16:creationId xmlns:a16="http://schemas.microsoft.com/office/drawing/2014/main" xmlns="" id="{542A407B-15AD-4A40-931F-245329D076C1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8070981" y="5455129"/>
            <a:ext cx="949555" cy="279664"/>
          </a:xfrm>
          <a:prstGeom prst="rect">
            <a:avLst/>
          </a:prstGeom>
        </p:spPr>
      </p:pic>
      <p:pic>
        <p:nvPicPr>
          <p:cNvPr id="76" name="Obrázek 75">
            <a:extLst>
              <a:ext uri="{FF2B5EF4-FFF2-40B4-BE49-F238E27FC236}">
                <a16:creationId xmlns:a16="http://schemas.microsoft.com/office/drawing/2014/main" xmlns="" id="{AA36793E-D83F-4DB5-85D4-B676A61720C9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2891" y="2842556"/>
            <a:ext cx="1432113" cy="357093"/>
          </a:xfrm>
          <a:prstGeom prst="rect">
            <a:avLst/>
          </a:prstGeom>
        </p:spPr>
      </p:pic>
      <p:pic>
        <p:nvPicPr>
          <p:cNvPr id="77" name="Obrázek 76">
            <a:extLst>
              <a:ext uri="{FF2B5EF4-FFF2-40B4-BE49-F238E27FC236}">
                <a16:creationId xmlns:a16="http://schemas.microsoft.com/office/drawing/2014/main" xmlns="" id="{F547848E-B8CF-442B-A33B-37BBC0013AE3}"/>
              </a:ext>
            </a:extLst>
          </p:cNvPr>
          <p:cNvPicPr>
            <a:picLocks noChangeAspect="1"/>
          </p:cNvPicPr>
          <p:nvPr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57"/>
          <a:stretch/>
        </p:blipFill>
        <p:spPr>
          <a:xfrm>
            <a:off x="10030524" y="1781233"/>
            <a:ext cx="1335472" cy="521539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xmlns="" id="{94143C65-4249-4FE2-801B-02359B067C4E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3672" y="5004466"/>
            <a:ext cx="644694" cy="373704"/>
          </a:xfrm>
          <a:prstGeom prst="rect">
            <a:avLst/>
          </a:prstGeom>
        </p:spPr>
      </p:pic>
      <p:pic>
        <p:nvPicPr>
          <p:cNvPr id="17" name="Obrázek 16">
            <a:extLst>
              <a:ext uri="{FF2B5EF4-FFF2-40B4-BE49-F238E27FC236}">
                <a16:creationId xmlns:a16="http://schemas.microsoft.com/office/drawing/2014/main" xmlns="" id="{A5C2AF6B-1E62-45B0-8C69-0B436D4E3447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656229" y="5109153"/>
            <a:ext cx="1304010" cy="485808"/>
          </a:xfrm>
          <a:prstGeom prst="rect">
            <a:avLst/>
          </a:prstGeom>
        </p:spPr>
      </p:pic>
      <p:pic>
        <p:nvPicPr>
          <p:cNvPr id="18" name="Obrázek 17">
            <a:extLst>
              <a:ext uri="{FF2B5EF4-FFF2-40B4-BE49-F238E27FC236}">
                <a16:creationId xmlns:a16="http://schemas.microsoft.com/office/drawing/2014/main" xmlns="" id="{A5257D51-4E1E-4222-BE46-E6465D168D49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814285" y="4663267"/>
            <a:ext cx="884818" cy="521726"/>
          </a:xfrm>
          <a:prstGeom prst="rect">
            <a:avLst/>
          </a:prstGeom>
        </p:spPr>
      </p:pic>
      <p:pic>
        <p:nvPicPr>
          <p:cNvPr id="70" name="Picture 2">
            <a:extLst>
              <a:ext uri="{FF2B5EF4-FFF2-40B4-BE49-F238E27FC236}">
                <a16:creationId xmlns:a16="http://schemas.microsoft.com/office/drawing/2014/main" xmlns="" id="{AF9FDF2A-D656-40CB-9055-1A08AFB6ED29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8846958" y="3579179"/>
            <a:ext cx="1432113" cy="30772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E9CC135-059A-4F23-9E54-8DF8B0B02A2C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059401" y="2271232"/>
            <a:ext cx="1078214" cy="367829"/>
          </a:xfrm>
          <a:prstGeom prst="rect">
            <a:avLst/>
          </a:prstGeom>
        </p:spPr>
      </p:pic>
      <p:pic>
        <p:nvPicPr>
          <p:cNvPr id="1026" name="Picture 2" descr="SouvisejÃ­cÃ­ obrÃ¡zek">
            <a:extLst>
              <a:ext uri="{FF2B5EF4-FFF2-40B4-BE49-F238E27FC236}">
                <a16:creationId xmlns:a16="http://schemas.microsoft.com/office/drawing/2014/main" xmlns="" id="{BD671A20-B234-4150-A875-9CAB88FC73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9230" y="3515110"/>
            <a:ext cx="748572" cy="561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Temp\SNAGHTML1f368647.PNG">
            <a:extLst>
              <a:ext uri="{FF2B5EF4-FFF2-40B4-BE49-F238E27FC236}">
                <a16:creationId xmlns:a16="http://schemas.microsoft.com/office/drawing/2014/main" xmlns="" id="{1826EFB1-1BED-4A78-A70B-F1DED82564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843" y="2216803"/>
            <a:ext cx="769904" cy="587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249BF5AF-9943-4EB3-8AB1-3F18AB995826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9556055" y="4092491"/>
            <a:ext cx="1166929" cy="2908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0595020B-403A-4C0F-A5E0-5E3A5850BE7A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8864683" y="2982315"/>
            <a:ext cx="1140352" cy="49692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B816ACE9-98B4-49A1-B210-56A82F246BE2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1926056" y="3378405"/>
            <a:ext cx="951742" cy="60772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B9FF3EFB-60E7-48B6-AF15-5F4CB8668B41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6673321" y="2550839"/>
            <a:ext cx="968651" cy="42897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AB2B3EF7-A912-4676-B69C-2721B358E228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4415819" y="5563110"/>
            <a:ext cx="1638300" cy="285750"/>
          </a:xfrm>
          <a:prstGeom prst="rect">
            <a:avLst/>
          </a:prstGeom>
        </p:spPr>
      </p:pic>
      <p:pic>
        <p:nvPicPr>
          <p:cNvPr id="49" name="Picture 11">
            <a:extLst>
              <a:ext uri="{FF2B5EF4-FFF2-40B4-BE49-F238E27FC236}">
                <a16:creationId xmlns:a16="http://schemas.microsoft.com/office/drawing/2014/main" xmlns="" id="{D90E0985-FCE2-48F5-ACD3-61B14EF155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/>
          <a:srcRect/>
          <a:stretch>
            <a:fillRect/>
          </a:stretch>
        </p:blipFill>
        <p:spPr bwMode="auto">
          <a:xfrm>
            <a:off x="2537465" y="3014585"/>
            <a:ext cx="1202430" cy="770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" name="Picture 15">
            <a:extLst>
              <a:ext uri="{FF2B5EF4-FFF2-40B4-BE49-F238E27FC236}">
                <a16:creationId xmlns:a16="http://schemas.microsoft.com/office/drawing/2014/main" xmlns="" id="{95CCA16E-E18C-47DC-9688-5CC1A1234F57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2531207" y="2663270"/>
            <a:ext cx="1235385" cy="470828"/>
          </a:xfrm>
          <a:prstGeom prst="rect">
            <a:avLst/>
          </a:prstGeom>
        </p:spPr>
      </p:pic>
      <p:pic>
        <p:nvPicPr>
          <p:cNvPr id="50" name="Picture 6">
            <a:extLst>
              <a:ext uri="{FF2B5EF4-FFF2-40B4-BE49-F238E27FC236}">
                <a16:creationId xmlns:a16="http://schemas.microsoft.com/office/drawing/2014/main" xmlns="" id="{4866919D-3B01-47EB-9F1D-B419E93C9F6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3668" y="3086721"/>
            <a:ext cx="1434283" cy="378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xmlns="" id="{254DA1FD-62B1-4F0B-9135-C0B9054E5929}"/>
              </a:ext>
            </a:extLst>
          </p:cNvPr>
          <p:cNvPicPr>
            <a:picLocks noChangeAspect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7989" y="3223834"/>
            <a:ext cx="814580" cy="488748"/>
          </a:xfrm>
          <a:prstGeom prst="rect">
            <a:avLst/>
          </a:prstGeom>
        </p:spPr>
      </p:pic>
      <p:pic>
        <p:nvPicPr>
          <p:cNvPr id="19" name="Picture 18" descr="A picture containing drawing&#10;&#10;Description automatically generated">
            <a:extLst>
              <a:ext uri="{FF2B5EF4-FFF2-40B4-BE49-F238E27FC236}">
                <a16:creationId xmlns:a16="http://schemas.microsoft.com/office/drawing/2014/main" xmlns="" id="{30B9894B-8423-49D1-88C9-CB527140EF23}"/>
              </a:ext>
            </a:extLst>
          </p:cNvPr>
          <p:cNvPicPr>
            <a:picLocks noChangeAspect="1"/>
          </p:cNvPicPr>
          <p:nvPr/>
        </p:nvPicPr>
        <p:blipFill rotWithShape="1"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17" t="11305" r="14404"/>
          <a:stretch/>
        </p:blipFill>
        <p:spPr>
          <a:xfrm>
            <a:off x="5738610" y="4843003"/>
            <a:ext cx="740814" cy="500858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xmlns="" id="{CFB6E9F1-7EEA-4F28-A5F3-C4D3F5B53EBC}"/>
              </a:ext>
            </a:extLst>
          </p:cNvPr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4"/>
              </a:ext>
            </a:extLst>
          </a:blip>
          <a:stretch>
            <a:fillRect/>
          </a:stretch>
        </p:blipFill>
        <p:spPr>
          <a:xfrm>
            <a:off x="10857558" y="5066216"/>
            <a:ext cx="460203" cy="460203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E61B493E-A95F-4A50-AE9C-FB108D0D0C3A}"/>
              </a:ext>
            </a:extLst>
          </p:cNvPr>
          <p:cNvPicPr>
            <a:picLocks noChangeAspect="1"/>
          </p:cNvPicPr>
          <p:nvPr/>
        </p:nvPicPr>
        <p:blipFill rotWithShape="1"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93" t="11711" r="16814" b="19796"/>
          <a:stretch/>
        </p:blipFill>
        <p:spPr>
          <a:xfrm>
            <a:off x="5921277" y="1770528"/>
            <a:ext cx="999329" cy="62031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xmlns="" id="{877965AC-E992-4D47-82E8-CB74374FF784}"/>
              </a:ext>
            </a:extLst>
          </p:cNvPr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8521" y="2087884"/>
            <a:ext cx="556329" cy="509968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12B0C78D-7B96-446D-971B-0FFC7A40B878}"/>
              </a:ext>
            </a:extLst>
          </p:cNvPr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752" y="2457625"/>
            <a:ext cx="1178496" cy="498061"/>
          </a:xfrm>
          <a:prstGeom prst="rect">
            <a:avLst/>
          </a:prstGeom>
        </p:spPr>
      </p:pic>
      <p:sp>
        <p:nvSpPr>
          <p:cNvPr id="6" name="Obdélník 5">
            <a:extLst>
              <a:ext uri="{FF2B5EF4-FFF2-40B4-BE49-F238E27FC236}">
                <a16:creationId xmlns:a16="http://schemas.microsoft.com/office/drawing/2014/main" xmlns="" id="{2126D113-116B-49DA-8FA2-73A6F3579C14}"/>
              </a:ext>
            </a:extLst>
          </p:cNvPr>
          <p:cNvSpPr/>
          <p:nvPr/>
        </p:nvSpPr>
        <p:spPr>
          <a:xfrm>
            <a:off x="4339929" y="1778144"/>
            <a:ext cx="3354901" cy="413939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1">
              <a:latin typeface="Tw Cen MT" panose="020B0602020104020603" pitchFamily="34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pic>
        <p:nvPicPr>
          <p:cNvPr id="65" name="Picture 30">
            <a:extLst>
              <a:ext uri="{FF2B5EF4-FFF2-40B4-BE49-F238E27FC236}">
                <a16:creationId xmlns:a16="http://schemas.microsoft.com/office/drawing/2014/main" xmlns="" id="{A3497B80-C155-43CA-86EA-EF0A1AEFAC61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4504873" y="4468468"/>
            <a:ext cx="2194631" cy="342283"/>
          </a:xfrm>
          <a:prstGeom prst="rect">
            <a:avLst/>
          </a:prstGeom>
        </p:spPr>
      </p:pic>
      <p:pic>
        <p:nvPicPr>
          <p:cNvPr id="66" name="Obrázek 65">
            <a:extLst>
              <a:ext uri="{FF2B5EF4-FFF2-40B4-BE49-F238E27FC236}">
                <a16:creationId xmlns:a16="http://schemas.microsoft.com/office/drawing/2014/main" xmlns="" id="{949F6F06-95B1-45F8-B275-132F34AB4FA2}"/>
              </a:ext>
            </a:extLst>
          </p:cNvPr>
          <p:cNvPicPr>
            <a:picLocks noChangeAspect="1"/>
          </p:cNvPicPr>
          <p:nvPr/>
        </p:nvPicPr>
        <p:blipFill rotWithShape="1"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30" t="13490" r="15026" b="19674"/>
          <a:stretch/>
        </p:blipFill>
        <p:spPr>
          <a:xfrm>
            <a:off x="4719662" y="2573375"/>
            <a:ext cx="618270" cy="293249"/>
          </a:xfrm>
          <a:prstGeom prst="rect">
            <a:avLst/>
          </a:prstGeom>
        </p:spPr>
      </p:pic>
      <p:pic>
        <p:nvPicPr>
          <p:cNvPr id="63" name="Picture 24">
            <a:extLst>
              <a:ext uri="{FF2B5EF4-FFF2-40B4-BE49-F238E27FC236}">
                <a16:creationId xmlns:a16="http://schemas.microsoft.com/office/drawing/2014/main" xmlns="" id="{B8DECE93-9029-4299-B6FF-13FB6A00DE8C}"/>
              </a:ext>
            </a:extLst>
          </p:cNvPr>
          <p:cNvPicPr>
            <a:picLocks noChangeAspect="1"/>
          </p:cNvPicPr>
          <p:nvPr/>
        </p:nvPicPr>
        <p:blipFill rotWithShape="1">
          <a:blip r:embed="rId50"/>
          <a:srcRect t="13925" b="16799"/>
          <a:stretch/>
        </p:blipFill>
        <p:spPr>
          <a:xfrm>
            <a:off x="4476524" y="4941123"/>
            <a:ext cx="1137932" cy="439542"/>
          </a:xfrm>
          <a:prstGeom prst="rect">
            <a:avLst/>
          </a:prstGeom>
        </p:spPr>
      </p:pic>
      <p:pic>
        <p:nvPicPr>
          <p:cNvPr id="79" name="Picture 6" descr="Dopravný podnik Bratislava – Wikipédia">
            <a:extLst>
              <a:ext uri="{FF2B5EF4-FFF2-40B4-BE49-F238E27FC236}">
                <a16:creationId xmlns:a16="http://schemas.microsoft.com/office/drawing/2014/main" xmlns="" id="{04BBF619-0065-4D62-9C85-94CF0C3B1A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3101" y="3240142"/>
            <a:ext cx="464456" cy="505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A0D2D1C6-DBDB-4235-BD2D-B00B3DDD2468}"/>
              </a:ext>
            </a:extLst>
          </p:cNvPr>
          <p:cNvPicPr>
            <a:picLocks noChangeAspect="1"/>
          </p:cNvPicPr>
          <p:nvPr/>
        </p:nvPicPr>
        <p:blipFill>
          <a:blip r:embed="rId52"/>
          <a:stretch>
            <a:fillRect/>
          </a:stretch>
        </p:blipFill>
        <p:spPr>
          <a:xfrm>
            <a:off x="8077711" y="2102689"/>
            <a:ext cx="491275" cy="480358"/>
          </a:xfrm>
          <a:prstGeom prst="rect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xmlns="" id="{9D7CAB81-0ADE-4E2C-9933-A2C84103BCDB}"/>
              </a:ext>
            </a:extLst>
          </p:cNvPr>
          <p:cNvPicPr>
            <a:picLocks noChangeAspect="1"/>
          </p:cNvPicPr>
          <p:nvPr/>
        </p:nvPicPr>
        <p:blipFill>
          <a:blip r:embed="rId53"/>
          <a:stretch>
            <a:fillRect/>
          </a:stretch>
        </p:blipFill>
        <p:spPr>
          <a:xfrm>
            <a:off x="3135388" y="4384414"/>
            <a:ext cx="787940" cy="413325"/>
          </a:xfrm>
          <a:prstGeom prst="rect">
            <a:avLst/>
          </a:prstGeom>
        </p:spPr>
      </p:pic>
      <p:pic>
        <p:nvPicPr>
          <p:cNvPr id="82" name="Picture 2">
            <a:extLst>
              <a:ext uri="{FF2B5EF4-FFF2-40B4-BE49-F238E27FC236}">
                <a16:creationId xmlns:a16="http://schemas.microsoft.com/office/drawing/2014/main" xmlns="" id="{4CF63466-A47B-40D5-9F7C-74596DF5EC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0685" y="2418591"/>
            <a:ext cx="513324" cy="405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520D9F30-DCCD-462F-B999-2A3D31C69ECD}"/>
              </a:ext>
            </a:extLst>
          </p:cNvPr>
          <p:cNvPicPr>
            <a:picLocks noChangeAspect="1"/>
          </p:cNvPicPr>
          <p:nvPr/>
        </p:nvPicPr>
        <p:blipFill>
          <a:blip r:embed="rId55"/>
          <a:stretch>
            <a:fillRect/>
          </a:stretch>
        </p:blipFill>
        <p:spPr>
          <a:xfrm>
            <a:off x="6677673" y="2956503"/>
            <a:ext cx="914693" cy="35730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xmlns="" id="{46480369-190B-4CE6-A00A-BA9A1006B468}"/>
              </a:ext>
            </a:extLst>
          </p:cNvPr>
          <p:cNvPicPr>
            <a:picLocks noChangeAspect="1"/>
          </p:cNvPicPr>
          <p:nvPr/>
        </p:nvPicPr>
        <p:blipFill rotWithShape="1">
          <a:blip r:embed="rId56"/>
          <a:srcRect l="21163" t="12189" r="15948" b="18509"/>
          <a:stretch/>
        </p:blipFill>
        <p:spPr>
          <a:xfrm>
            <a:off x="10039863" y="2290571"/>
            <a:ext cx="469900" cy="51781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xmlns="" id="{FA71FF27-8B0C-4DBF-A638-60FD3A9D067E}"/>
              </a:ext>
            </a:extLst>
          </p:cNvPr>
          <p:cNvPicPr>
            <a:picLocks noChangeAspect="1"/>
          </p:cNvPicPr>
          <p:nvPr/>
        </p:nvPicPr>
        <p:blipFill>
          <a:blip r:embed="rId57"/>
          <a:stretch>
            <a:fillRect/>
          </a:stretch>
        </p:blipFill>
        <p:spPr>
          <a:xfrm>
            <a:off x="2977242" y="1803254"/>
            <a:ext cx="844066" cy="440321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xmlns="" id="{A9E28ED2-2E72-47AF-AD17-57C9EA04B8CA}"/>
              </a:ext>
            </a:extLst>
          </p:cNvPr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8076963" y="4312027"/>
            <a:ext cx="1272166" cy="311036"/>
          </a:xfrm>
          <a:prstGeom prst="rect">
            <a:avLst/>
          </a:prstGeom>
        </p:spPr>
      </p:pic>
      <p:pic>
        <p:nvPicPr>
          <p:cNvPr id="41" name="Picture 6" descr="VÃ½sledok vyhÄ¾adÃ¡vania obrÃ¡zkov pre dopyt asbis">
            <a:extLst>
              <a:ext uri="{FF2B5EF4-FFF2-40B4-BE49-F238E27FC236}">
                <a16:creationId xmlns:a16="http://schemas.microsoft.com/office/drawing/2014/main" xmlns="" id="{B277B24A-0699-4E2C-B22B-A57393B55C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1699" y="3079448"/>
            <a:ext cx="984386" cy="236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xmlns="" id="{4A004A97-C6F8-4402-8A7B-13402CDE7273}"/>
              </a:ext>
            </a:extLst>
          </p:cNvPr>
          <p:cNvPicPr>
            <a:picLocks noChangeAspect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8616" y="3778552"/>
            <a:ext cx="890598" cy="258423"/>
          </a:xfrm>
          <a:prstGeom prst="rect">
            <a:avLst/>
          </a:prstGeom>
        </p:spPr>
      </p:pic>
      <p:pic>
        <p:nvPicPr>
          <p:cNvPr id="75" name="Picture 7">
            <a:extLst>
              <a:ext uri="{FF2B5EF4-FFF2-40B4-BE49-F238E27FC236}">
                <a16:creationId xmlns:a16="http://schemas.microsoft.com/office/drawing/2014/main" xmlns="" id="{BFDFA6D7-C526-4B72-B5F0-F8C7FE7CEE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1"/>
          <a:srcRect/>
          <a:stretch>
            <a:fillRect/>
          </a:stretch>
        </p:blipFill>
        <p:spPr bwMode="auto">
          <a:xfrm>
            <a:off x="9763565" y="4638946"/>
            <a:ext cx="1543527" cy="3928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xmlns="" id="{913F97B3-E7EB-4891-B2B3-ED74F2F2BF3A}"/>
              </a:ext>
            </a:extLst>
          </p:cNvPr>
          <p:cNvPicPr>
            <a:picLocks noChangeAspect="1"/>
          </p:cNvPicPr>
          <p:nvPr/>
        </p:nvPicPr>
        <p:blipFill>
          <a:blip r:embed="rId62"/>
          <a:stretch>
            <a:fillRect/>
          </a:stretch>
        </p:blipFill>
        <p:spPr>
          <a:xfrm>
            <a:off x="9702159" y="2857705"/>
            <a:ext cx="1363713" cy="175491"/>
          </a:xfrm>
          <a:prstGeom prst="rect">
            <a:avLst/>
          </a:prstGeom>
        </p:spPr>
      </p:pic>
      <p:pic>
        <p:nvPicPr>
          <p:cNvPr id="78" name="Obrázok 1" descr="Obec Holíč">
            <a:extLst>
              <a:ext uri="{FF2B5EF4-FFF2-40B4-BE49-F238E27FC236}">
                <a16:creationId xmlns:a16="http://schemas.microsoft.com/office/drawing/2014/main" xmlns="" id="{C919746D-8A3F-4C98-896C-46F68FEA2ECF}"/>
              </a:ext>
            </a:extLst>
          </p:cNvPr>
          <p:cNvPicPr>
            <a:picLocks noChangeAspect="1"/>
          </p:cNvPicPr>
          <p:nvPr/>
        </p:nvPicPr>
        <p:blipFill>
          <a:blip r:embed="rId6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6538" y="2458899"/>
            <a:ext cx="359454" cy="35945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Obrázek 11" descr="Obsah obrázku text, klipart&#10;&#10;Popis byl vytvořen automaticky">
            <a:extLst>
              <a:ext uri="{FF2B5EF4-FFF2-40B4-BE49-F238E27FC236}">
                <a16:creationId xmlns:a16="http://schemas.microsoft.com/office/drawing/2014/main" xmlns="" id="{663AF3AE-7799-A29D-7593-8F50E63BAE3A}"/>
              </a:ext>
            </a:extLst>
          </p:cNvPr>
          <p:cNvPicPr>
            <a:picLocks noChangeAspect="1"/>
          </p:cNvPicPr>
          <p:nvPr/>
        </p:nvPicPr>
        <p:blipFill>
          <a:blip r:embed="rId6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7393" y="1802194"/>
            <a:ext cx="1502610" cy="35983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95B01CC0-A80B-4885-8787-0F4DB7AB0816}"/>
              </a:ext>
            </a:extLst>
          </p:cNvPr>
          <p:cNvPicPr>
            <a:picLocks noChangeAspect="1"/>
          </p:cNvPicPr>
          <p:nvPr/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1097" y="2094937"/>
            <a:ext cx="821751" cy="313680"/>
          </a:xfrm>
          <a:prstGeom prst="rect">
            <a:avLst/>
          </a:prstGeom>
        </p:spPr>
      </p:pic>
      <p:pic>
        <p:nvPicPr>
          <p:cNvPr id="36" name="Obrázek 35">
            <a:extLst>
              <a:ext uri="{FF2B5EF4-FFF2-40B4-BE49-F238E27FC236}">
                <a16:creationId xmlns:a16="http://schemas.microsoft.com/office/drawing/2014/main" xmlns="" id="{52D8AF3D-69D1-3A3A-9AC3-B7A7A196FAD9}"/>
              </a:ext>
            </a:extLst>
          </p:cNvPr>
          <p:cNvPicPr>
            <a:picLocks noChangeAspect="1"/>
          </p:cNvPicPr>
          <p:nvPr/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3413" y="4999622"/>
            <a:ext cx="1318349" cy="424104"/>
          </a:xfrm>
          <a:prstGeom prst="rect">
            <a:avLst/>
          </a:prstGeom>
        </p:spPr>
      </p:pic>
      <p:pic>
        <p:nvPicPr>
          <p:cNvPr id="39" name="Obrázek 38" descr="Obsah obrázku text&#10;&#10;Popis byl vytvořen automaticky">
            <a:extLst>
              <a:ext uri="{FF2B5EF4-FFF2-40B4-BE49-F238E27FC236}">
                <a16:creationId xmlns:a16="http://schemas.microsoft.com/office/drawing/2014/main" xmlns="" id="{126E7CF7-E61F-3ACC-37A9-167C445E410D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9631" y="5483394"/>
            <a:ext cx="1202898" cy="383533"/>
          </a:xfrm>
          <a:prstGeom prst="rect">
            <a:avLst/>
          </a:prstGeom>
        </p:spPr>
      </p:pic>
      <p:pic>
        <p:nvPicPr>
          <p:cNvPr id="42" name="Obrázek 41" descr="Obsah obrázku kovové nádobí, řetěz&#10;&#10;Popis byl vytvořen automaticky">
            <a:extLst>
              <a:ext uri="{FF2B5EF4-FFF2-40B4-BE49-F238E27FC236}">
                <a16:creationId xmlns:a16="http://schemas.microsoft.com/office/drawing/2014/main" xmlns="" id="{B7DCD6EB-FF77-1545-6CD0-F02A57D041D8}"/>
              </a:ext>
            </a:extLst>
          </p:cNvPr>
          <p:cNvPicPr>
            <a:picLocks noChangeAspect="1"/>
          </p:cNvPicPr>
          <p:nvPr/>
        </p:nvPicPr>
        <p:blipFill>
          <a:blip r:embed="rId6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2516" y="4070458"/>
            <a:ext cx="381140" cy="496930"/>
          </a:xfrm>
          <a:prstGeom prst="rect">
            <a:avLst/>
          </a:prstGeom>
        </p:spPr>
      </p:pic>
      <p:pic>
        <p:nvPicPr>
          <p:cNvPr id="44" name="Obrázek 43">
            <a:extLst>
              <a:ext uri="{FF2B5EF4-FFF2-40B4-BE49-F238E27FC236}">
                <a16:creationId xmlns:a16="http://schemas.microsoft.com/office/drawing/2014/main" xmlns="" id="{D7444EA4-61D0-3DAC-31FE-90A3830F40C6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1117" y="2951994"/>
            <a:ext cx="1582640" cy="278785"/>
          </a:xfrm>
          <a:prstGeom prst="rect">
            <a:avLst/>
          </a:prstGeom>
        </p:spPr>
      </p:pic>
      <p:pic>
        <p:nvPicPr>
          <p:cNvPr id="46" name="Obrázek 45" descr="Obsah obrázku text, hodiny&#10;&#10;Popis byl vytvořen automaticky">
            <a:extLst>
              <a:ext uri="{FF2B5EF4-FFF2-40B4-BE49-F238E27FC236}">
                <a16:creationId xmlns:a16="http://schemas.microsoft.com/office/drawing/2014/main" xmlns="" id="{7DD923A0-D96A-F4E0-1AF7-C106E6E9FF78}"/>
              </a:ext>
            </a:extLst>
          </p:cNvPr>
          <p:cNvPicPr>
            <a:picLocks noChangeAspect="1"/>
          </p:cNvPicPr>
          <p:nvPr/>
        </p:nvPicPr>
        <p:blipFill>
          <a:blip r:embed="rId7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065927" y="4703765"/>
            <a:ext cx="1716165" cy="263168"/>
          </a:xfrm>
          <a:prstGeom prst="rect">
            <a:avLst/>
          </a:prstGeom>
        </p:spPr>
      </p:pic>
      <p:pic>
        <p:nvPicPr>
          <p:cNvPr id="83" name="Obrázek 82">
            <a:extLst>
              <a:ext uri="{FF2B5EF4-FFF2-40B4-BE49-F238E27FC236}">
                <a16:creationId xmlns:a16="http://schemas.microsoft.com/office/drawing/2014/main" xmlns="" id="{CA7F0695-4989-79AC-CF51-08E1D3273394}"/>
              </a:ext>
            </a:extLst>
          </p:cNvPr>
          <p:cNvPicPr>
            <a:picLocks noChangeAspect="1"/>
          </p:cNvPicPr>
          <p:nvPr/>
        </p:nvPicPr>
        <p:blipFill rotWithShape="1">
          <a:blip r:embed="rId7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66" t="16149" r="8587" b="16283"/>
          <a:stretch/>
        </p:blipFill>
        <p:spPr>
          <a:xfrm>
            <a:off x="2935870" y="3575317"/>
            <a:ext cx="868215" cy="362307"/>
          </a:xfrm>
          <a:prstGeom prst="rect">
            <a:avLst/>
          </a:prstGeom>
        </p:spPr>
      </p:pic>
      <p:pic>
        <p:nvPicPr>
          <p:cNvPr id="85" name="Obrázek 84">
            <a:extLst>
              <a:ext uri="{FF2B5EF4-FFF2-40B4-BE49-F238E27FC236}">
                <a16:creationId xmlns:a16="http://schemas.microsoft.com/office/drawing/2014/main" xmlns="" id="{E0EB6D49-1376-AE2A-E176-73BBC51CDE34}"/>
              </a:ext>
            </a:extLst>
          </p:cNvPr>
          <p:cNvPicPr>
            <a:picLocks noChangeAspect="1"/>
          </p:cNvPicPr>
          <p:nvPr/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3547" y="3390726"/>
            <a:ext cx="1227113" cy="280669"/>
          </a:xfrm>
          <a:prstGeom prst="rect">
            <a:avLst/>
          </a:prstGeom>
        </p:spPr>
      </p:pic>
      <p:pic>
        <p:nvPicPr>
          <p:cNvPr id="87" name="Obrázek 86">
            <a:extLst>
              <a:ext uri="{FF2B5EF4-FFF2-40B4-BE49-F238E27FC236}">
                <a16:creationId xmlns:a16="http://schemas.microsoft.com/office/drawing/2014/main" xmlns="" id="{AE25CDB2-1998-4D03-5121-07BEE18A0126}"/>
              </a:ext>
            </a:extLst>
          </p:cNvPr>
          <p:cNvPicPr>
            <a:picLocks noChangeAspect="1"/>
          </p:cNvPicPr>
          <p:nvPr/>
        </p:nvPicPr>
        <p:blipFill rotWithShape="1"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77" t="31560" r="6339" b="33993"/>
          <a:stretch/>
        </p:blipFill>
        <p:spPr>
          <a:xfrm>
            <a:off x="5479851" y="3723489"/>
            <a:ext cx="908039" cy="302794"/>
          </a:xfrm>
          <a:prstGeom prst="rect">
            <a:avLst/>
          </a:prstGeom>
        </p:spPr>
      </p:pic>
      <p:pic>
        <p:nvPicPr>
          <p:cNvPr id="91" name="Obrázek 90" descr="Obsah obrázku text&#10;&#10;Popis byl vytvořen automaticky">
            <a:extLst>
              <a:ext uri="{FF2B5EF4-FFF2-40B4-BE49-F238E27FC236}">
                <a16:creationId xmlns:a16="http://schemas.microsoft.com/office/drawing/2014/main" xmlns="" id="{D2F9C4E1-7C59-7293-15A4-6DC70A694506}"/>
              </a:ext>
            </a:extLst>
          </p:cNvPr>
          <p:cNvPicPr>
            <a:picLocks noChangeAspect="1"/>
          </p:cNvPicPr>
          <p:nvPr/>
        </p:nvPicPr>
        <p:blipFill rotWithShape="1">
          <a:blip r:embed="rId7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84" t="34905" r="5104" b="35581"/>
          <a:stretch/>
        </p:blipFill>
        <p:spPr>
          <a:xfrm>
            <a:off x="9792569" y="5428684"/>
            <a:ext cx="1252784" cy="408942"/>
          </a:xfrm>
          <a:prstGeom prst="rect">
            <a:avLst/>
          </a:prstGeom>
        </p:spPr>
      </p:pic>
      <p:pic>
        <p:nvPicPr>
          <p:cNvPr id="93" name="Obrázek 92">
            <a:extLst>
              <a:ext uri="{FF2B5EF4-FFF2-40B4-BE49-F238E27FC236}">
                <a16:creationId xmlns:a16="http://schemas.microsoft.com/office/drawing/2014/main" xmlns="" id="{DB102466-41F7-42E3-FA0F-64EE7BAD9018}"/>
              </a:ext>
            </a:extLst>
          </p:cNvPr>
          <p:cNvPicPr>
            <a:picLocks noChangeAspect="1"/>
          </p:cNvPicPr>
          <p:nvPr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3177" y="5419059"/>
            <a:ext cx="808502" cy="446412"/>
          </a:xfrm>
          <a:prstGeom prst="rect">
            <a:avLst/>
          </a:prstGeom>
        </p:spPr>
      </p:pic>
      <p:pic>
        <p:nvPicPr>
          <p:cNvPr id="95" name="Obrázek 94" descr="Obsah obrázku text&#10;&#10;Popis byl vytvořen automaticky">
            <a:extLst>
              <a:ext uri="{FF2B5EF4-FFF2-40B4-BE49-F238E27FC236}">
                <a16:creationId xmlns:a16="http://schemas.microsoft.com/office/drawing/2014/main" xmlns="" id="{A1E26927-6905-31A6-18FE-B9BD0DF41EE8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321" y="3527391"/>
            <a:ext cx="1152663" cy="343054"/>
          </a:xfrm>
          <a:prstGeom prst="rect">
            <a:avLst/>
          </a:prstGeom>
        </p:spPr>
      </p:pic>
      <p:pic>
        <p:nvPicPr>
          <p:cNvPr id="1025" name="Obrázek 1024">
            <a:extLst>
              <a:ext uri="{FF2B5EF4-FFF2-40B4-BE49-F238E27FC236}">
                <a16:creationId xmlns:a16="http://schemas.microsoft.com/office/drawing/2014/main" xmlns="" id="{300EFA07-FDD1-7E41-A270-8FD50CF467FB}"/>
              </a:ext>
            </a:extLst>
          </p:cNvPr>
          <p:cNvPicPr>
            <a:picLocks noChangeAspect="1"/>
          </p:cNvPicPr>
          <p:nvPr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295" y="5630247"/>
            <a:ext cx="1198981" cy="222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1915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3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6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5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8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xmlns="" id="{E02C4AA7-654D-4620-9F16-1EAF36A90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989592"/>
            <a:ext cx="9434514" cy="883812"/>
          </a:xfrm>
        </p:spPr>
        <p:txBody>
          <a:bodyPr>
            <a:normAutofit/>
          </a:bodyPr>
          <a:lstStyle/>
          <a:p>
            <a:r>
              <a:rPr lang="cs-CZ" dirty="0">
                <a:solidFill>
                  <a:srgbClr val="FF0000"/>
                </a:solidFill>
              </a:rPr>
              <a:t>T</a:t>
            </a:r>
            <a:r>
              <a:rPr lang="cs-CZ" dirty="0">
                <a:solidFill>
                  <a:schemeClr val="tx2"/>
                </a:solidFill>
              </a:rPr>
              <a:t>echnologická </a:t>
            </a:r>
            <a:r>
              <a:rPr lang="cs-CZ" dirty="0">
                <a:solidFill>
                  <a:srgbClr val="FF0000"/>
                </a:solidFill>
              </a:rPr>
              <a:t>S</a:t>
            </a:r>
            <a:r>
              <a:rPr lang="cs-CZ" dirty="0">
                <a:solidFill>
                  <a:schemeClr val="tx2"/>
                </a:solidFill>
              </a:rPr>
              <a:t>polupráce</a:t>
            </a:r>
          </a:p>
        </p:txBody>
      </p:sp>
      <p:sp>
        <p:nvSpPr>
          <p:cNvPr id="2" name="Zástupný symbol pro obsah 1">
            <a:extLst>
              <a:ext uri="{FF2B5EF4-FFF2-40B4-BE49-F238E27FC236}">
                <a16:creationId xmlns:a16="http://schemas.microsoft.com/office/drawing/2014/main" xmlns="" id="{95EA71C7-B8AC-499D-B5DA-C8205CBB61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2450" y="1954227"/>
            <a:ext cx="11601451" cy="4205504"/>
          </a:xfrm>
        </p:spPr>
        <p:txBody>
          <a:bodyPr>
            <a:noAutofit/>
          </a:bodyPr>
          <a:lstStyle/>
          <a:p>
            <a:r>
              <a:rPr lang="cs-CZ" b="0" dirty="0">
                <a:solidFill>
                  <a:schemeClr val="bg2">
                    <a:lumMod val="25000"/>
                  </a:schemeClr>
                </a:solidFill>
              </a:rPr>
              <a:t>Sdružení českých a slovenských firem a expertů zabývajících se </a:t>
            </a:r>
            <a:r>
              <a:rPr lang="cs-CZ" b="1" dirty="0" err="1">
                <a:solidFill>
                  <a:schemeClr val="bg2">
                    <a:lumMod val="25000"/>
                  </a:schemeClr>
                </a:solidFill>
              </a:rPr>
              <a:t>kyber</a:t>
            </a:r>
            <a:r>
              <a:rPr lang="cs-CZ" b="1" dirty="0">
                <a:solidFill>
                  <a:schemeClr val="bg2">
                    <a:lumMod val="25000"/>
                  </a:schemeClr>
                </a:solidFill>
              </a:rPr>
              <a:t>. bezpečností</a:t>
            </a:r>
          </a:p>
          <a:p>
            <a:r>
              <a:rPr lang="cs-CZ" b="1" dirty="0">
                <a:solidFill>
                  <a:schemeClr val="bg2">
                    <a:lumMod val="25000"/>
                  </a:schemeClr>
                </a:solidFill>
              </a:rPr>
              <a:t> </a:t>
            </a:r>
          </a:p>
          <a:p>
            <a:endParaRPr lang="cs-CZ" b="1" dirty="0">
              <a:solidFill>
                <a:schemeClr val="bg2">
                  <a:lumMod val="25000"/>
                </a:schemeClr>
              </a:solidFill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xmlns="" id="{030A74D6-55F6-4054-A0F1-24F82D91FF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450" y="3419565"/>
            <a:ext cx="2120336" cy="761201"/>
          </a:xfrm>
          <a:prstGeom prst="rect">
            <a:avLst/>
          </a:prstGeom>
        </p:spPr>
      </p:pic>
      <p:pic>
        <p:nvPicPr>
          <p:cNvPr id="5" name="Grafický objekt 4">
            <a:extLst>
              <a:ext uri="{FF2B5EF4-FFF2-40B4-BE49-F238E27FC236}">
                <a16:creationId xmlns:a16="http://schemas.microsoft.com/office/drawing/2014/main" xmlns="" id="{8DC9347C-F6B8-417F-BD3E-575F5619A59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216777" y="2662439"/>
            <a:ext cx="1986577" cy="1986577"/>
          </a:xfrm>
          <a:prstGeom prst="rect">
            <a:avLst/>
          </a:prstGeom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xmlns="" id="{A96ADDD6-7C81-40AA-A6DD-990FF58F03A2}"/>
              </a:ext>
            </a:extLst>
          </p:cNvPr>
          <p:cNvSpPr/>
          <p:nvPr/>
        </p:nvSpPr>
        <p:spPr>
          <a:xfrm>
            <a:off x="8872363" y="3571881"/>
            <a:ext cx="6096000" cy="16784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372">
              <a:lnSpc>
                <a:spcPct val="90000"/>
              </a:lnSpc>
              <a:spcBef>
                <a:spcPts val="1001"/>
              </a:spcBef>
            </a:pPr>
            <a:endParaRPr lang="cs-CZ" sz="3200" b="1" dirty="0">
              <a:solidFill>
                <a:srgbClr val="EAEFF2">
                  <a:lumMod val="25000"/>
                </a:srgbClr>
              </a:solidFill>
              <a:latin typeface="Tw Cen MT" panose="020B0602020104020603" pitchFamily="34" charset="0"/>
              <a:ea typeface="Ebrima" panose="02000000000000000000" pitchFamily="2" charset="0"/>
              <a:cs typeface="Ebrima" panose="02000000000000000000" pitchFamily="2" charset="0"/>
            </a:endParaRPr>
          </a:p>
          <a:p>
            <a:pPr lvl="0" defTabSz="914372">
              <a:lnSpc>
                <a:spcPct val="90000"/>
              </a:lnSpc>
              <a:spcBef>
                <a:spcPts val="1001"/>
              </a:spcBef>
            </a:pPr>
            <a:r>
              <a:rPr lang="cs-CZ" sz="3200" b="1" dirty="0">
                <a:solidFill>
                  <a:srgbClr val="EAEFF2">
                    <a:lumMod val="25000"/>
                  </a:srgbClr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Založeno </a:t>
            </a:r>
            <a:r>
              <a:rPr lang="cs-CZ" sz="3200" b="1" dirty="0">
                <a:solidFill>
                  <a:srgbClr val="FF0000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2018</a:t>
            </a:r>
          </a:p>
          <a:p>
            <a:pPr lvl="0" defTabSz="914372">
              <a:lnSpc>
                <a:spcPct val="90000"/>
              </a:lnSpc>
              <a:spcBef>
                <a:spcPts val="1001"/>
              </a:spcBef>
            </a:pPr>
            <a:r>
              <a:rPr lang="cs-CZ" sz="3200" b="1" dirty="0">
                <a:solidFill>
                  <a:srgbClr val="FF0000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15 </a:t>
            </a:r>
            <a:r>
              <a:rPr lang="cs-CZ" sz="3200" b="1" dirty="0">
                <a:solidFill>
                  <a:srgbClr val="3F3F3F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členů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xmlns="" id="{30D7D75C-EAD2-4ADF-B168-D95A29D3CF9B}"/>
              </a:ext>
            </a:extLst>
          </p:cNvPr>
          <p:cNvSpPr txBox="1"/>
          <p:nvPr/>
        </p:nvSpPr>
        <p:spPr>
          <a:xfrm>
            <a:off x="2634652" y="5543487"/>
            <a:ext cx="3868311" cy="7104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33413" lvl="2" defTabSz="914372">
              <a:lnSpc>
                <a:spcPct val="90000"/>
              </a:lnSpc>
              <a:spcBef>
                <a:spcPts val="500"/>
              </a:spcBef>
            </a:pPr>
            <a:r>
              <a:rPr lang="cs-CZ" sz="2000" i="1" dirty="0">
                <a:solidFill>
                  <a:srgbClr val="EAEFF2">
                    <a:lumMod val="25000"/>
                  </a:srgbClr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Systémoví integrátoři</a:t>
            </a:r>
          </a:p>
          <a:p>
            <a:pPr marL="833413" lvl="2" defTabSz="914372">
              <a:lnSpc>
                <a:spcPct val="90000"/>
              </a:lnSpc>
              <a:spcBef>
                <a:spcPts val="500"/>
              </a:spcBef>
            </a:pPr>
            <a:r>
              <a:rPr lang="cs-CZ" sz="2000" i="1" dirty="0">
                <a:solidFill>
                  <a:srgbClr val="EAEFF2">
                    <a:lumMod val="25000"/>
                  </a:srgbClr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Konzultační specialisté</a:t>
            </a:r>
            <a:endParaRPr lang="cs-CZ" sz="2000" dirty="0">
              <a:solidFill>
                <a:srgbClr val="EAEFF2">
                  <a:lumMod val="25000"/>
                </a:srgbClr>
              </a:solidFill>
              <a:latin typeface="Tw Cen MT" panose="020B0602020104020603" pitchFamily="34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xmlns="" id="{3989616E-BC11-41CB-A9DD-4BF492C515DE}"/>
              </a:ext>
            </a:extLst>
          </p:cNvPr>
          <p:cNvSpPr/>
          <p:nvPr/>
        </p:nvSpPr>
        <p:spPr>
          <a:xfrm>
            <a:off x="493458" y="4261589"/>
            <a:ext cx="6096000" cy="1106970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defTabSz="914372">
              <a:lnSpc>
                <a:spcPct val="90000"/>
              </a:lnSpc>
              <a:spcBef>
                <a:spcPts val="1001"/>
              </a:spcBef>
            </a:pPr>
            <a:r>
              <a:rPr lang="cs-CZ" sz="3200" b="1" dirty="0">
                <a:solidFill>
                  <a:srgbClr val="EAEFF2">
                    <a:lumMod val="25000"/>
                  </a:srgbClr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Založeno </a:t>
            </a:r>
            <a:r>
              <a:rPr lang="cs-CZ" sz="3200" b="1" dirty="0">
                <a:solidFill>
                  <a:srgbClr val="FF0000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2010</a:t>
            </a:r>
          </a:p>
          <a:p>
            <a:pPr lvl="0" defTabSz="914372">
              <a:lnSpc>
                <a:spcPct val="90000"/>
              </a:lnSpc>
              <a:spcBef>
                <a:spcPts val="1001"/>
              </a:spcBef>
            </a:pPr>
            <a:r>
              <a:rPr lang="cs-CZ" sz="3200" b="1" dirty="0">
                <a:solidFill>
                  <a:srgbClr val="FF0000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20 </a:t>
            </a:r>
            <a:r>
              <a:rPr lang="cs-CZ" sz="3200" b="1" dirty="0">
                <a:solidFill>
                  <a:srgbClr val="3F3F3F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členů</a:t>
            </a:r>
          </a:p>
        </p:txBody>
      </p:sp>
      <p:pic>
        <p:nvPicPr>
          <p:cNvPr id="1028" name="Picture 4" descr="Masarykova univerzita mění logo. Dodá ho Studio Najbrt | Události ...">
            <a:extLst>
              <a:ext uri="{FF2B5EF4-FFF2-40B4-BE49-F238E27FC236}">
                <a16:creationId xmlns:a16="http://schemas.microsoft.com/office/drawing/2014/main" xmlns="" id="{C5935028-AA3D-46DD-B2BA-E61C6F176C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1844" y="3982387"/>
            <a:ext cx="2406611" cy="1203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Obrázek 8" descr="Obsah obrázku text&#10;&#10;Popis byl vytvořen automaticky">
            <a:extLst>
              <a:ext uri="{FF2B5EF4-FFF2-40B4-BE49-F238E27FC236}">
                <a16:creationId xmlns:a16="http://schemas.microsoft.com/office/drawing/2014/main" xmlns="" id="{EFF901B0-3BB8-4FD7-9240-90525657A62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6721" y="2657010"/>
            <a:ext cx="2344171" cy="1106970"/>
          </a:xfrm>
          <a:prstGeom prst="rect">
            <a:avLst/>
          </a:prstGeom>
        </p:spPr>
      </p:pic>
      <p:pic>
        <p:nvPicPr>
          <p:cNvPr id="2050" name="Picture 2" descr="TeskaLabs · Cyber security · Data Privacy">
            <a:extLst>
              <a:ext uri="{FF2B5EF4-FFF2-40B4-BE49-F238E27FC236}">
                <a16:creationId xmlns:a16="http://schemas.microsoft.com/office/drawing/2014/main" xmlns="" id="{E7A93060-0AD4-2ABF-95C2-C5E2F0CEF7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4422" y="2697673"/>
            <a:ext cx="1653279" cy="1329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Masarykova univerzita mění logo. Dodá ho Studio Najbrt | Události ...">
            <a:extLst>
              <a:ext uri="{FF2B5EF4-FFF2-40B4-BE49-F238E27FC236}">
                <a16:creationId xmlns:a16="http://schemas.microsoft.com/office/drawing/2014/main" xmlns="" id="{1D10BD51-2887-5A3D-BF37-C66D499D2D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9130" y="3667994"/>
            <a:ext cx="2406611" cy="1203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Řešení pro ochranu dat před ztrátou a vnitřními hrozbami">
            <a:extLst>
              <a:ext uri="{FF2B5EF4-FFF2-40B4-BE49-F238E27FC236}">
                <a16:creationId xmlns:a16="http://schemas.microsoft.com/office/drawing/2014/main" xmlns="" id="{3D05C0F7-B00C-6A5D-4C3C-9B46B94526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4029" y="4300033"/>
            <a:ext cx="2406611" cy="547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xmlns="" id="{6D9BAE84-9F4F-01C5-25B5-FEE58FEBDF3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89895" y="4905665"/>
            <a:ext cx="2111925" cy="1203306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xmlns="" id="{48545DD3-F918-518F-20BB-A1C230A8192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379916" y="4780092"/>
            <a:ext cx="2698539" cy="50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493420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xmlns="" id="{764E8F07-792B-42BA-866D-B3327080AC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1017313"/>
            <a:ext cx="8983286" cy="883812"/>
          </a:xfrm>
        </p:spPr>
        <p:txBody>
          <a:bodyPr>
            <a:normAutofit/>
          </a:bodyPr>
          <a:lstStyle/>
          <a:p>
            <a:r>
              <a:rPr lang="cs-CZ" dirty="0">
                <a:solidFill>
                  <a:srgbClr val="FF0000"/>
                </a:solidFill>
                <a:latin typeface="Tw Cen MT" panose="020B0602020104020603" pitchFamily="34" charset="-18"/>
              </a:rPr>
              <a:t>Nej</a:t>
            </a:r>
            <a:r>
              <a:rPr lang="cs-CZ" dirty="0">
                <a:solidFill>
                  <a:schemeClr val="tx2"/>
                </a:solidFill>
                <a:latin typeface="Tw Cen MT" panose="020B0602020104020603" pitchFamily="34" charset="-18"/>
              </a:rPr>
              <a:t>častější </a:t>
            </a:r>
            <a:r>
              <a:rPr lang="cs-CZ" dirty="0">
                <a:solidFill>
                  <a:srgbClr val="FF0000"/>
                </a:solidFill>
                <a:latin typeface="Tw Cen MT" panose="020B0602020104020603" pitchFamily="34" charset="-18"/>
              </a:rPr>
              <a:t>cíle </a:t>
            </a:r>
            <a:r>
              <a:rPr lang="cs-CZ" dirty="0">
                <a:solidFill>
                  <a:schemeClr val="tx2"/>
                </a:solidFill>
                <a:latin typeface="Tw Cen MT" panose="020B0602020104020603" pitchFamily="34" charset="-18"/>
              </a:rPr>
              <a:t>v čase</a:t>
            </a:r>
            <a:endParaRPr lang="cs-CZ" dirty="0">
              <a:latin typeface="Tw Cen MT" panose="020B0602020104020603" pitchFamily="34" charset="-18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xmlns="" id="{5FB58ECE-5E65-4B6C-9D20-D76504E505E3}"/>
              </a:ext>
            </a:extLst>
          </p:cNvPr>
          <p:cNvSpPr txBox="1"/>
          <p:nvPr/>
        </p:nvSpPr>
        <p:spPr>
          <a:xfrm>
            <a:off x="0" y="5707337"/>
            <a:ext cx="6096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201"/>
              </a:spcBef>
            </a:pPr>
            <a:r>
              <a:rPr lang="cs-CZ" sz="2800" b="0" dirty="0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-18"/>
              </a:rPr>
              <a:t>* </a:t>
            </a:r>
            <a:r>
              <a:rPr lang="cs-CZ" sz="1800" b="0" dirty="0" err="1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-18"/>
              </a:rPr>
              <a:t>Check</a:t>
            </a:r>
            <a:r>
              <a:rPr lang="cs-CZ" sz="1800" b="0" dirty="0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-18"/>
              </a:rPr>
              <a:t> Point </a:t>
            </a:r>
            <a:r>
              <a:rPr lang="cs-CZ" sz="1800" b="0" dirty="0" err="1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-18"/>
              </a:rPr>
              <a:t>Security</a:t>
            </a:r>
            <a:r>
              <a:rPr lang="cs-CZ" sz="1800" b="0" dirty="0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-18"/>
              </a:rPr>
              <a:t> Report 2021a 2023</a:t>
            </a:r>
            <a:endParaRPr lang="cs-CZ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xmlns="" id="{5E85378C-4A16-40EE-8546-AB9785A39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798" y="1984969"/>
            <a:ext cx="5573735" cy="3608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xmlns="" id="{4D87A872-F945-1B64-DF92-237AF1795D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4991" y="1984969"/>
            <a:ext cx="5679288" cy="3608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4309047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xmlns="" id="{764E8F07-792B-42BA-866D-B3327080AC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1017313"/>
            <a:ext cx="8983286" cy="883812"/>
          </a:xfrm>
        </p:spPr>
        <p:txBody>
          <a:bodyPr>
            <a:normAutofit/>
          </a:bodyPr>
          <a:lstStyle/>
          <a:p>
            <a:r>
              <a:rPr lang="cs-CZ" dirty="0">
                <a:solidFill>
                  <a:srgbClr val="FF0000"/>
                </a:solidFill>
                <a:latin typeface="Tw Cen MT" panose="020B0602020104020603" pitchFamily="34" charset="-18"/>
              </a:rPr>
              <a:t>Nejčastější </a:t>
            </a:r>
            <a:r>
              <a:rPr lang="cs-CZ" dirty="0">
                <a:solidFill>
                  <a:schemeClr val="tx2"/>
                </a:solidFill>
                <a:latin typeface="Tw Cen MT" panose="020B0602020104020603" pitchFamily="34" charset="-18"/>
              </a:rPr>
              <a:t>vektory</a:t>
            </a:r>
            <a:r>
              <a:rPr lang="cs-CZ" dirty="0">
                <a:solidFill>
                  <a:srgbClr val="FF0000"/>
                </a:solidFill>
                <a:latin typeface="Tw Cen MT" panose="020B0602020104020603" pitchFamily="34" charset="-18"/>
              </a:rPr>
              <a:t> útoku</a:t>
            </a:r>
            <a:endParaRPr lang="cs-CZ" dirty="0">
              <a:latin typeface="Tw Cen MT" panose="020B0602020104020603" pitchFamily="34" charset="-18"/>
            </a:endParaRP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xmlns="" id="{263A641B-16DA-1034-FBAF-D60DAB3242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4140" y="1949927"/>
            <a:ext cx="5908247" cy="4002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7408524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2">
            <a:extLst>
              <a:ext uri="{FF2B5EF4-FFF2-40B4-BE49-F238E27FC236}">
                <a16:creationId xmlns:a16="http://schemas.microsoft.com/office/drawing/2014/main" xmlns="" id="{C76A96F0-BE82-43B6-9F5E-FD715765993F}"/>
              </a:ext>
            </a:extLst>
          </p:cNvPr>
          <p:cNvSpPr txBox="1">
            <a:spLocks/>
          </p:cNvSpPr>
          <p:nvPr/>
        </p:nvSpPr>
        <p:spPr>
          <a:xfrm>
            <a:off x="404949" y="806248"/>
            <a:ext cx="11787051" cy="12437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1pPr>
          </a:lstStyle>
          <a:p>
            <a:r>
              <a:rPr lang="cs-CZ">
                <a:solidFill>
                  <a:srgbClr val="FF0000"/>
                </a:solidFill>
              </a:rPr>
              <a:t>Dokonalá bezpečnost </a:t>
            </a:r>
            <a:r>
              <a:rPr lang="cs-CZ">
                <a:solidFill>
                  <a:schemeClr val="tx2"/>
                </a:solidFill>
              </a:rPr>
              <a:t>/</a:t>
            </a:r>
            <a:r>
              <a:rPr lang="cs-CZ">
                <a:solidFill>
                  <a:srgbClr val="FF0000"/>
                </a:solidFill>
              </a:rPr>
              <a:t> Proti </a:t>
            </a:r>
            <a:r>
              <a:rPr lang="cs-CZ">
                <a:solidFill>
                  <a:schemeClr val="tx2"/>
                </a:solidFill>
              </a:rPr>
              <a:t>čemu</a:t>
            </a:r>
            <a:r>
              <a:rPr lang="cs-CZ">
                <a:solidFill>
                  <a:srgbClr val="FF0000"/>
                </a:solidFill>
              </a:rPr>
              <a:t> a </a:t>
            </a:r>
            <a:r>
              <a:rPr lang="cs-CZ">
                <a:solidFill>
                  <a:schemeClr val="tx2"/>
                </a:solidFill>
              </a:rPr>
              <a:t>čím</a:t>
            </a:r>
            <a:r>
              <a:rPr lang="cs-CZ">
                <a:solidFill>
                  <a:srgbClr val="FF0000"/>
                </a:solidFill>
              </a:rPr>
              <a:t> se chráni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63068F78-2DAE-436D-9E52-DCBA352894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290646"/>
            <a:ext cx="5046783" cy="198847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FAE7E2B5-64DB-496F-AFB0-0391E1EA47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3263" y="1384632"/>
            <a:ext cx="7491147" cy="3366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312079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aSEl5Hh0WmEbI136ucz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BsWQJy1kKmnKilzfOqe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DGafxVZk6VEuYGrvtmP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LzocFuoEmZ5FMg.ROD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lBzBQOjkO17h_xycoC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QwJN4b6U6BT26FE4YL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cM6c8NnEWzE9.9aTIH9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YHU68L90uIUHjI2vQ6c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QsicXlFU6RlcXhSSzYv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cOpVowrkWAhgNAxa_1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2XFsQ6OUemTNrfI9mX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aSEl5Hh0WmEbI136ucz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.xT6NZUiTMiRRFfyjT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4OpgFGYk28vVzSV_9V8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Da.IjEeEyw.dGem6Bju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3vcVCFsUqYz.5cg9Chv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aSEl5Hh0WmEbI136ucz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UWRwFqyk.JV2WNDpUQc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EnYCVecEWCtlsJEYKH5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vjIEM.8Eymlp1byKzg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f5Kgrhjk.0U1mCwCZph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Ih02wTUW5o2LU0Bte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aSEl5Hh0WmEbI136ucz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NBHfpMRkqQldgp5Uda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aG6Whd3U6xKwEx0exQ3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Ih02wTUW5o2LU0BteQ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Da.IjEeEyw.dGem6Bju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Da.IjEeEyw.dGem6Bj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f5Kgrhjk.0U1mCwCZp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aSEl5Hh0WmEbI136uc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Z.mgbmFUSKCZPkv89B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t5GCD9j0yw0XrWoP9D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kypUiUeka6r2luKQLV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omHHh7kaVjAtWF7vW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RwIBbhmE2Eq0ycEUEzeg"/>
</p:tagLst>
</file>

<file path=ppt/theme/theme1.xml><?xml version="1.0" encoding="utf-8"?>
<a:theme xmlns:a="http://schemas.openxmlformats.org/drawingml/2006/main" name="Axenta-ppt">
  <a:themeElements>
    <a:clrScheme name="Custom 1">
      <a:dk1>
        <a:srgbClr val="FF0000"/>
      </a:dk1>
      <a:lt1>
        <a:srgbClr val="FF0000"/>
      </a:lt1>
      <a:dk2>
        <a:srgbClr val="3F3F3F"/>
      </a:dk2>
      <a:lt2>
        <a:srgbClr val="EAEFF2"/>
      </a:lt2>
      <a:accent1>
        <a:srgbClr val="EAEFF2"/>
      </a:accent1>
      <a:accent2>
        <a:srgbClr val="FFC000"/>
      </a:accent2>
      <a:accent3>
        <a:srgbClr val="FF0000"/>
      </a:accent3>
      <a:accent4>
        <a:srgbClr val="BF9000"/>
      </a:accent4>
      <a:accent5>
        <a:srgbClr val="72AEBC"/>
      </a:accent5>
      <a:accent6>
        <a:srgbClr val="2E75B5"/>
      </a:accent6>
      <a:hlink>
        <a:srgbClr val="BF9000"/>
      </a:hlink>
      <a:folHlink>
        <a:srgbClr val="538135"/>
      </a:folHlink>
    </a:clrScheme>
    <a:fontScheme name="AXenta Myriad Pro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Axenta-ppt" id="{9420694E-5B67-4C26-80D9-8D9F4D3D1A9B}" vid="{B4DE739B-F592-4808-800A-220FDE53A82F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ív balík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FF469AC57398847BCC0594C359D6610" ma:contentTypeVersion="12" ma:contentTypeDescription="Create a new document." ma:contentTypeScope="" ma:versionID="e0443fc12efbaea424ec6b193044a0ac">
  <xsd:schema xmlns:xsd="http://www.w3.org/2001/XMLSchema" xmlns:xs="http://www.w3.org/2001/XMLSchema" xmlns:p="http://schemas.microsoft.com/office/2006/metadata/properties" xmlns:ns2="93f06d8a-897a-4209-93a2-c0a8eb83f6e4" xmlns:ns3="1683fc70-0135-4481-bab3-bc11a77025f8" targetNamespace="http://schemas.microsoft.com/office/2006/metadata/properties" ma:root="true" ma:fieldsID="73ca457402e5654cbbdb85e1c72e1c44" ns2:_="" ns3:_="">
    <xsd:import namespace="93f06d8a-897a-4209-93a2-c0a8eb83f6e4"/>
    <xsd:import namespace="1683fc70-0135-4481-bab3-bc11a77025f8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f06d8a-897a-4209-93a2-c0a8eb83f6e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83fc70-0135-4481-bab3-bc11a77025f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MediaServiceAutoTags" ma:internalName="MediaServiceAutoTags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A4E6907-BFFF-4061-A1EE-6332902F040D}">
  <ds:schemaRefs>
    <ds:schemaRef ds:uri="1683fc70-0135-4481-bab3-bc11a77025f8"/>
    <ds:schemaRef ds:uri="93f06d8a-897a-4209-93a2-c0a8eb83f6e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E1098DC-DAB9-43A3-84A9-295BBD5BC76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B47CAE3-AA03-4F77-ADFA-A30BF8225C0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1683fc70-0135-4481-bab3-bc11a77025f8"/>
    <ds:schemaRef ds:uri="http://purl.org/dc/elements/1.1/"/>
    <ds:schemaRef ds:uri="http://schemas.microsoft.com/office/2006/metadata/properties"/>
    <ds:schemaRef ds:uri="http://schemas.microsoft.com/office/infopath/2007/PartnerControls"/>
    <ds:schemaRef ds:uri="93f06d8a-897a-4209-93a2-c0a8eb83f6e4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xenta-ppt</Template>
  <TotalTime>1405</TotalTime>
  <Words>576</Words>
  <Application>Microsoft Office PowerPoint</Application>
  <PresentationFormat>Vlastní</PresentationFormat>
  <Paragraphs>156</Paragraphs>
  <Slides>20</Slides>
  <Notes>12</Notes>
  <HiddenSlides>0</HiddenSlides>
  <MMClips>1</MMClips>
  <ScaleCrop>false</ScaleCrop>
  <HeadingPairs>
    <vt:vector size="4" baseType="variant">
      <vt:variant>
        <vt:lpstr>Motiv</vt:lpstr>
      </vt:variant>
      <vt:variant>
        <vt:i4>1</vt:i4>
      </vt:variant>
      <vt:variant>
        <vt:lpstr>Nadpisy snímků</vt:lpstr>
      </vt:variant>
      <vt:variant>
        <vt:i4>20</vt:i4>
      </vt:variant>
    </vt:vector>
  </HeadingPairs>
  <TitlesOfParts>
    <vt:vector size="21" baseType="lpstr">
      <vt:lpstr>Axenta-ppt</vt:lpstr>
      <vt:lpstr> Příprava na NIS2 - těžko na cvičišti, lehko na bojišti  </vt:lpstr>
      <vt:lpstr>AGENDA</vt:lpstr>
      <vt:lpstr>Kdo jsme / víme jak na to © 2009  [2002]</vt:lpstr>
      <vt:lpstr>Co děláme? </vt:lpstr>
      <vt:lpstr>Kybernetická bezpečnost pro každého</vt:lpstr>
      <vt:lpstr>Technologická Spolupráce</vt:lpstr>
      <vt:lpstr>Nejčastější cíle v čase</vt:lpstr>
      <vt:lpstr>Nejčastější vektory útoku</vt:lpstr>
      <vt:lpstr>Prezentace aplikace PowerPoint</vt:lpstr>
      <vt:lpstr>Prezentace aplikace PowerPoint</vt:lpstr>
      <vt:lpstr>Prezentace aplikace PowerPoint</vt:lpstr>
      <vt:lpstr>Prezentace aplikace PowerPoint</vt:lpstr>
      <vt:lpstr>Subjekty zařazené do NIS2</vt:lpstr>
      <vt:lpstr>Hlavní motivace Evropské unie </vt:lpstr>
      <vt:lpstr>Odpovědnosti a sankce</vt:lpstr>
      <vt:lpstr>Prezentace aplikace PowerPoint</vt:lpstr>
      <vt:lpstr>Prezentace aplikace PowerPoint</vt:lpstr>
      <vt:lpstr>Prezentace aplikace PowerPoint</vt:lpstr>
      <vt:lpstr>Prezentace aplikace PowerPoint</vt:lpstr>
      <vt:lpstr>Děkuji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zpečnost komplexně SOC 2.0</dc:title>
  <dc:creator>Peter Jankovsky</dc:creator>
  <cp:lastModifiedBy>reditelsj</cp:lastModifiedBy>
  <cp:revision>9</cp:revision>
  <dcterms:created xsi:type="dcterms:W3CDTF">2017-11-02T23:08:40Z</dcterms:created>
  <dcterms:modified xsi:type="dcterms:W3CDTF">2023-10-18T16:33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FF469AC57398847BCC0594C359D6610</vt:lpwstr>
  </property>
  <property fmtid="{D5CDD505-2E9C-101B-9397-08002B2CF9AE}" pid="3" name="Order">
    <vt:r8>36591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AuthorIds_UIVersion_5120">
    <vt:lpwstr>6</vt:lpwstr>
  </property>
  <property fmtid="{D5CDD505-2E9C-101B-9397-08002B2CF9AE}" pid="9" name="AuthorIds_UIVersion_6144">
    <vt:lpwstr>6</vt:lpwstr>
  </property>
</Properties>
</file>